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4"/>
  </p:sldMasterIdLst>
  <p:notesMasterIdLst>
    <p:notesMasterId r:id="rId17"/>
  </p:notesMasterIdLst>
  <p:handoutMasterIdLst>
    <p:handoutMasterId r:id="rId18"/>
  </p:handoutMasterIdLst>
  <p:sldIdLst>
    <p:sldId id="328" r:id="rId5"/>
    <p:sldId id="319" r:id="rId6"/>
    <p:sldId id="480" r:id="rId7"/>
    <p:sldId id="556" r:id="rId8"/>
    <p:sldId id="554" r:id="rId9"/>
    <p:sldId id="481" r:id="rId10"/>
    <p:sldId id="384" r:id="rId11"/>
    <p:sldId id="553" r:id="rId12"/>
    <p:sldId id="545" r:id="rId13"/>
    <p:sldId id="352" r:id="rId14"/>
    <p:sldId id="555" r:id="rId15"/>
    <p:sldId id="261" r:id="rId16"/>
  </p:sldIdLst>
  <p:sldSz cx="12192000" cy="6858000"/>
  <p:notesSz cx="6884988" cy="10018713"/>
  <p:defaultTextStyle>
    <a:defPPr>
      <a:defRPr lang="en-GB"/>
    </a:defPPr>
    <a:lvl1pPr algn="l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6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164" userDrawn="1">
          <p15:clr>
            <a:srgbClr val="A4A3A4"/>
          </p15:clr>
        </p15:guide>
        <p15:guide id="4" orient="horz" pos="2449" userDrawn="1">
          <p15:clr>
            <a:srgbClr val="A4A3A4"/>
          </p15:clr>
        </p15:guide>
        <p15:guide id="5" orient="horz" pos="3566" userDrawn="1">
          <p15:clr>
            <a:srgbClr val="A4A3A4"/>
          </p15:clr>
        </p15:guide>
        <p15:guide id="6" orient="horz" pos="2545" userDrawn="1">
          <p15:clr>
            <a:srgbClr val="A4A3A4"/>
          </p15:clr>
        </p15:guide>
        <p15:guide id="7" orient="horz" pos="3845" userDrawn="1">
          <p15:clr>
            <a:srgbClr val="A4A3A4"/>
          </p15:clr>
        </p15:guide>
        <p15:guide id="8" pos="6625" userDrawn="1">
          <p15:clr>
            <a:srgbClr val="A4A3A4"/>
          </p15:clr>
        </p15:guide>
        <p15:guide id="9" pos="2593" userDrawn="1">
          <p15:clr>
            <a:srgbClr val="A4A3A4"/>
          </p15:clr>
        </p15:guide>
        <p15:guide id="10" pos="5091" userDrawn="1">
          <p15:clr>
            <a:srgbClr val="A4A3A4"/>
          </p15:clr>
        </p15:guide>
        <p15:guide id="11" pos="4969" userDrawn="1">
          <p15:clr>
            <a:srgbClr val="A4A3A4"/>
          </p15:clr>
        </p15:guide>
        <p15:guide id="12" pos="3779" userDrawn="1">
          <p15:clr>
            <a:srgbClr val="A4A3A4"/>
          </p15:clr>
        </p15:guide>
        <p15:guide id="13" pos="3901" userDrawn="1">
          <p15:clr>
            <a:srgbClr val="A4A3A4"/>
          </p15:clr>
        </p15:guide>
        <p15:guide id="14" pos="331" userDrawn="1">
          <p15:clr>
            <a:srgbClr val="A4A3A4"/>
          </p15:clr>
        </p15:guide>
        <p15:guide id="15" pos="2712" userDrawn="1">
          <p15:clr>
            <a:srgbClr val="A4A3A4"/>
          </p15:clr>
        </p15:guide>
        <p15:guide id="16" pos="3839" userDrawn="1">
          <p15:clr>
            <a:srgbClr val="A4A3A4"/>
          </p15:clr>
        </p15:guide>
        <p15:guide id="17" pos="3568" userDrawn="1">
          <p15:clr>
            <a:srgbClr val="A4A3A4"/>
          </p15:clr>
        </p15:guide>
        <p15:guide id="18" pos="4112" userDrawn="1">
          <p15:clr>
            <a:srgbClr val="A4A3A4"/>
          </p15:clr>
        </p15:guide>
        <p15:guide id="19" pos="734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55">
          <p15:clr>
            <a:srgbClr val="A4A3A4"/>
          </p15:clr>
        </p15:guide>
        <p15:guide id="2" pos="21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00048"/>
    <a:srgbClr val="003399"/>
    <a:srgbClr val="99CCFF"/>
    <a:srgbClr val="00FA00"/>
    <a:srgbClr val="9FB7D3"/>
    <a:srgbClr val="8BC5FF"/>
    <a:srgbClr val="6A8FBF"/>
    <a:srgbClr val="00A9D4"/>
    <a:srgbClr val="007B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4" autoAdjust="0"/>
    <p:restoredTop sz="94133" autoAdjust="0"/>
  </p:normalViewPr>
  <p:slideViewPr>
    <p:cSldViewPr snapToGrid="0" snapToObjects="1">
      <p:cViewPr varScale="1">
        <p:scale>
          <a:sx n="65" d="100"/>
          <a:sy n="65" d="100"/>
        </p:scale>
        <p:origin x="252" y="52"/>
      </p:cViewPr>
      <p:guideLst>
        <p:guide orient="horz" pos="1136"/>
        <p:guide orient="horz" pos="4110"/>
        <p:guide orient="horz" pos="164"/>
        <p:guide orient="horz" pos="2449"/>
        <p:guide orient="horz" pos="3566"/>
        <p:guide orient="horz" pos="2545"/>
        <p:guide orient="horz" pos="3845"/>
        <p:guide pos="6625"/>
        <p:guide pos="2593"/>
        <p:guide pos="5091"/>
        <p:guide pos="4969"/>
        <p:guide pos="3779"/>
        <p:guide pos="3901"/>
        <p:guide pos="331"/>
        <p:guide pos="2712"/>
        <p:guide pos="3839"/>
        <p:guide pos="3568"/>
        <p:guide pos="4112"/>
        <p:guide pos="734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6528"/>
    </p:cViewPr>
  </p:sorterViewPr>
  <p:notesViewPr>
    <p:cSldViewPr snapToGrid="0" snapToObjects="1">
      <p:cViewPr varScale="1">
        <p:scale>
          <a:sx n="64" d="100"/>
          <a:sy n="64" d="100"/>
        </p:scale>
        <p:origin x="-3414" y="-126"/>
      </p:cViewPr>
      <p:guideLst>
        <p:guide orient="horz" pos="3155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ándor Katona" userId="6d5ef71d-980f-4f4a-baaa-fa3e8faeb840" providerId="ADAL" clId="{E8756749-71F2-455B-9D45-B82C5FCE4C7C}"/>
    <pc:docChg chg="undo custSel addSld delSld modSld sldOrd">
      <pc:chgData name="Sándor Katona" userId="6d5ef71d-980f-4f4a-baaa-fa3e8faeb840" providerId="ADAL" clId="{E8756749-71F2-455B-9D45-B82C5FCE4C7C}" dt="2018-11-20T19:41:31.499" v="2127" actId="14100"/>
      <pc:docMkLst>
        <pc:docMk/>
      </pc:docMkLst>
      <pc:sldChg chg="modSp ord">
        <pc:chgData name="Sándor Katona" userId="6d5ef71d-980f-4f4a-baaa-fa3e8faeb840" providerId="ADAL" clId="{E8756749-71F2-455B-9D45-B82C5FCE4C7C}" dt="2018-11-20T17:21:41.414" v="1880"/>
        <pc:sldMkLst>
          <pc:docMk/>
          <pc:sldMk cId="3532279279" sldId="352"/>
        </pc:sldMkLst>
        <pc:spChg chg="mod">
          <ac:chgData name="Sándor Katona" userId="6d5ef71d-980f-4f4a-baaa-fa3e8faeb840" providerId="ADAL" clId="{E8756749-71F2-455B-9D45-B82C5FCE4C7C}" dt="2018-11-20T13:01:43.219" v="1381" actId="1037"/>
          <ac:spMkLst>
            <pc:docMk/>
            <pc:sldMk cId="3532279279" sldId="352"/>
            <ac:spMk id="4" creationId="{00000000-0000-0000-0000-000000000000}"/>
          </ac:spMkLst>
        </pc:spChg>
        <pc:spChg chg="mod">
          <ac:chgData name="Sándor Katona" userId="6d5ef71d-980f-4f4a-baaa-fa3e8faeb840" providerId="ADAL" clId="{E8756749-71F2-455B-9D45-B82C5FCE4C7C}" dt="2018-11-20T13:01:37.406" v="1370" actId="1037"/>
          <ac:spMkLst>
            <pc:docMk/>
            <pc:sldMk cId="3532279279" sldId="352"/>
            <ac:spMk id="5" creationId="{00000000-0000-0000-0000-000000000000}"/>
          </ac:spMkLst>
        </pc:spChg>
        <pc:spChg chg="mod">
          <ac:chgData name="Sándor Katona" userId="6d5ef71d-980f-4f4a-baaa-fa3e8faeb840" providerId="ADAL" clId="{E8756749-71F2-455B-9D45-B82C5FCE4C7C}" dt="2018-11-20T13:48:33.123" v="1859" actId="20577"/>
          <ac:spMkLst>
            <pc:docMk/>
            <pc:sldMk cId="3532279279" sldId="352"/>
            <ac:spMk id="6" creationId="{00000000-0000-0000-0000-000000000000}"/>
          </ac:spMkLst>
        </pc:spChg>
      </pc:sldChg>
      <pc:sldChg chg="addSp delSp modSp ord">
        <pc:chgData name="Sándor Katona" userId="6d5ef71d-980f-4f4a-baaa-fa3e8faeb840" providerId="ADAL" clId="{E8756749-71F2-455B-9D45-B82C5FCE4C7C}" dt="2018-11-20T18:28:09.130" v="1934"/>
        <pc:sldMkLst>
          <pc:docMk/>
          <pc:sldMk cId="4192930817" sldId="384"/>
        </pc:sldMkLst>
        <pc:spChg chg="mod">
          <ac:chgData name="Sándor Katona" userId="6d5ef71d-980f-4f4a-baaa-fa3e8faeb840" providerId="ADAL" clId="{E8756749-71F2-455B-9D45-B82C5FCE4C7C}" dt="2018-11-20T18:26:43.895" v="1919" actId="14100"/>
          <ac:spMkLst>
            <pc:docMk/>
            <pc:sldMk cId="4192930817" sldId="384"/>
            <ac:spMk id="6" creationId="{00000000-0000-0000-0000-000000000000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7" creationId="{DA7CB2FB-4438-4A8D-ADD7-BC393C2C6715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29" creationId="{0603C40A-1D25-492E-B55C-6AC93A5D60CF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49" creationId="{C9EFEC99-2F54-4464-86A3-F66B71F42BF2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50" creationId="{6BDADADF-FB3E-4EA2-A8D8-1F4B59B74EED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51" creationId="{210F7622-288D-492F-AD94-27FEE390ACA0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52" creationId="{AF2A903B-BB02-491D-ADC9-A1B7FD33ABEF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53" creationId="{625EBFEA-FF8F-4513-B158-0927A0CCB129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54" creationId="{59A57A50-9E35-4EDD-BEB1-26C2E3B1FB4E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55" creationId="{055644C0-919E-43F8-B438-E82BAD22C09C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79" creationId="{5CF181ED-CC1D-4541-AF1D-957EE29D1EF2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81" creationId="{D24F11BB-B431-4A27-9CDB-3E6ECD2B3D0F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82" creationId="{8FBF92EB-5FEC-46EC-A280-A3B154E2BD21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83" creationId="{240CFBEC-FC1B-4803-844A-A1BBF5537975}"/>
          </ac:spMkLst>
        </pc:spChg>
        <pc:spChg chg="add del">
          <ac:chgData name="Sándor Katona" userId="6d5ef71d-980f-4f4a-baaa-fa3e8faeb840" providerId="ADAL" clId="{E8756749-71F2-455B-9D45-B82C5FCE4C7C}" dt="2018-11-20T18:24:15.790" v="1888"/>
          <ac:spMkLst>
            <pc:docMk/>
            <pc:sldMk cId="4192930817" sldId="384"/>
            <ac:spMk id="114" creationId="{5D320EB3-1847-45C4-ABF2-8904D74F55FB}"/>
          </ac:spMkLst>
        </pc:s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8" creationId="{4F1188ED-B769-4CC0-AA07-27557F8D1EBA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19" creationId="{A89F8B2A-5C24-4D01-AD2A-7EB7634356B1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25" creationId="{48470238-CDD2-4B48-ABE9-27A120B60833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30" creationId="{769AD4E3-82D0-4E34-9F15-566B889A76E3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34" creationId="{842FBA74-4DD3-40F5-A9C6-93C75D6D63FA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38" creationId="{6FDAB85C-3FC0-4DCF-96E0-C357D4CC9F4D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56" creationId="{643D4CD8-0135-4025-8C76-AF153BC77CE2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67" creationId="{5D346F2A-D03D-47B4-A421-F78C082D0183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86" creationId="{926DBD03-9DD7-4598-8927-877238731DCA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94" creationId="{659AA7D3-6724-41B4-BFBE-F6220AD7A61E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102" creationId="{4861E279-F0F8-42CC-8E01-4FD562BB5B85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110" creationId="{6ED18CE2-9E2A-4CB5-B9BB-6EF844377407}"/>
          </ac:grpSpMkLst>
        </pc:grpChg>
        <pc:grpChg chg="add del">
          <ac:chgData name="Sándor Katona" userId="6d5ef71d-980f-4f4a-baaa-fa3e8faeb840" providerId="ADAL" clId="{E8756749-71F2-455B-9D45-B82C5FCE4C7C}" dt="2018-11-20T18:24:15.790" v="1888"/>
          <ac:grpSpMkLst>
            <pc:docMk/>
            <pc:sldMk cId="4192930817" sldId="384"/>
            <ac:grpSpMk id="115" creationId="{5B0D0860-F19F-4533-A8AF-9DF578F0A2DB}"/>
          </ac:grpSpMkLst>
        </pc:grpChg>
        <pc:picChg chg="add del mod">
          <ac:chgData name="Sándor Katona" userId="6d5ef71d-980f-4f4a-baaa-fa3e8faeb840" providerId="ADAL" clId="{E8756749-71F2-455B-9D45-B82C5FCE4C7C}" dt="2018-11-20T18:19:32.942" v="1881" actId="478"/>
          <ac:picMkLst>
            <pc:docMk/>
            <pc:sldMk cId="4192930817" sldId="384"/>
            <ac:picMk id="2" creationId="{4C6253B1-C84D-4AD9-8417-06DDAEA90FE9}"/>
          </ac:picMkLst>
        </pc:picChg>
        <pc:picChg chg="del mod">
          <ac:chgData name="Sándor Katona" userId="6d5ef71d-980f-4f4a-baaa-fa3e8faeb840" providerId="ADAL" clId="{E8756749-71F2-455B-9D45-B82C5FCE4C7C}" dt="2018-11-20T18:19:58.659" v="1886" actId="478"/>
          <ac:picMkLst>
            <pc:docMk/>
            <pc:sldMk cId="4192930817" sldId="384"/>
            <ac:picMk id="3" creationId="{AE46E9B3-A968-4879-AFA8-2FDED4D63F10}"/>
          </ac:picMkLst>
        </pc:picChg>
        <pc:picChg chg="add mod">
          <ac:chgData name="Sándor Katona" userId="6d5ef71d-980f-4f4a-baaa-fa3e8faeb840" providerId="ADAL" clId="{E8756749-71F2-455B-9D45-B82C5FCE4C7C}" dt="2018-11-20T18:27:23.465" v="1933" actId="1038"/>
          <ac:picMkLst>
            <pc:docMk/>
            <pc:sldMk cId="4192930817" sldId="384"/>
            <ac:picMk id="4" creationId="{3FE688E0-5272-4C0B-B04B-90694017ADB2}"/>
          </ac:picMkLst>
        </pc:picChg>
        <pc:picChg chg="del mod">
          <ac:chgData name="Sándor Katona" userId="6d5ef71d-980f-4f4a-baaa-fa3e8faeb840" providerId="ADAL" clId="{E8756749-71F2-455B-9D45-B82C5FCE4C7C}" dt="2018-11-20T18:19:56.289" v="1885" actId="478"/>
          <ac:picMkLst>
            <pc:docMk/>
            <pc:sldMk cId="4192930817" sldId="384"/>
            <ac:picMk id="5" creationId="{62228C7F-EE8B-48AE-B79B-8E511D97DC3F}"/>
          </ac:picMkLst>
        </pc:picChg>
        <pc:picChg chg="add mod">
          <ac:chgData name="Sándor Katona" userId="6d5ef71d-980f-4f4a-baaa-fa3e8faeb840" providerId="ADAL" clId="{E8756749-71F2-455B-9D45-B82C5FCE4C7C}" dt="2018-11-20T18:26:06.336" v="1914" actId="1076"/>
          <ac:picMkLst>
            <pc:docMk/>
            <pc:sldMk cId="4192930817" sldId="384"/>
            <ac:picMk id="129" creationId="{8DCC7B6C-EABB-4CB4-B3A6-8A987126E313}"/>
          </ac:picMkLst>
        </pc:pic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78" creationId="{B8399492-F15A-442E-9754-29D3EB0B9230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80" creationId="{F7FB18B7-BCBC-48DE-8FEF-0310149B0214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84" creationId="{DE8AF45A-241C-4047-89CA-B4E109A18B68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85" creationId="{8AB7082B-4A87-41EE-AAA0-4A7B0A80149C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93" creationId="{6541F790-D0A2-4B2F-AA76-9AC155AA3A97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113" creationId="{4FFA0FBB-9981-4131-8D66-6AEEBD532666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127" creationId="{F1B318A6-FBAB-4459-92A8-0A070045F8E7}"/>
          </ac:cxnSpMkLst>
        </pc:cxnChg>
        <pc:cxnChg chg="add del">
          <ac:chgData name="Sándor Katona" userId="6d5ef71d-980f-4f4a-baaa-fa3e8faeb840" providerId="ADAL" clId="{E8756749-71F2-455B-9D45-B82C5FCE4C7C}" dt="2018-11-20T18:24:15.790" v="1888"/>
          <ac:cxnSpMkLst>
            <pc:docMk/>
            <pc:sldMk cId="4192930817" sldId="384"/>
            <ac:cxnSpMk id="128" creationId="{F0F96A6C-1AFA-48B2-82C1-9F061D595FAF}"/>
          </ac:cxnSpMkLst>
        </pc:cxnChg>
      </pc:sldChg>
      <pc:sldChg chg="del">
        <pc:chgData name="Sándor Katona" userId="6d5ef71d-980f-4f4a-baaa-fa3e8faeb840" providerId="ADAL" clId="{E8756749-71F2-455B-9D45-B82C5FCE4C7C}" dt="2018-11-20T13:43:42.053" v="1831" actId="2696"/>
        <pc:sldMkLst>
          <pc:docMk/>
          <pc:sldMk cId="4190281365" sldId="385"/>
        </pc:sldMkLst>
      </pc:sldChg>
      <pc:sldChg chg="del">
        <pc:chgData name="Sándor Katona" userId="6d5ef71d-980f-4f4a-baaa-fa3e8faeb840" providerId="ADAL" clId="{E8756749-71F2-455B-9D45-B82C5FCE4C7C}" dt="2018-11-20T13:43:42.053" v="1830" actId="2696"/>
        <pc:sldMkLst>
          <pc:docMk/>
          <pc:sldMk cId="1820401150" sldId="392"/>
        </pc:sldMkLst>
      </pc:sldChg>
      <pc:sldChg chg="modSp">
        <pc:chgData name="Sándor Katona" userId="6d5ef71d-980f-4f4a-baaa-fa3e8faeb840" providerId="ADAL" clId="{E8756749-71F2-455B-9D45-B82C5FCE4C7C}" dt="2018-11-20T15:13:51" v="1871" actId="20577"/>
        <pc:sldMkLst>
          <pc:docMk/>
          <pc:sldMk cId="1677193198" sldId="480"/>
        </pc:sldMkLst>
        <pc:spChg chg="mod">
          <ac:chgData name="Sándor Katona" userId="6d5ef71d-980f-4f4a-baaa-fa3e8faeb840" providerId="ADAL" clId="{E8756749-71F2-455B-9D45-B82C5FCE4C7C}" dt="2018-11-20T15:13:51" v="1871" actId="20577"/>
          <ac:spMkLst>
            <pc:docMk/>
            <pc:sldMk cId="1677193198" sldId="480"/>
            <ac:spMk id="128" creationId="{263EF946-A919-432E-A8BA-F707E708BA07}"/>
          </ac:spMkLst>
        </pc:spChg>
      </pc:sldChg>
      <pc:sldChg chg="modSp">
        <pc:chgData name="Sándor Katona" userId="6d5ef71d-980f-4f4a-baaa-fa3e8faeb840" providerId="ADAL" clId="{E8756749-71F2-455B-9D45-B82C5FCE4C7C}" dt="2018-11-20T15:19:21.549" v="1873" actId="1076"/>
        <pc:sldMkLst>
          <pc:docMk/>
          <pc:sldMk cId="102467267" sldId="481"/>
        </pc:sldMkLst>
        <pc:spChg chg="mod">
          <ac:chgData name="Sándor Katona" userId="6d5ef71d-980f-4f4a-baaa-fa3e8faeb840" providerId="ADAL" clId="{E8756749-71F2-455B-9D45-B82C5FCE4C7C}" dt="2018-11-20T15:19:21.549" v="1873" actId="1076"/>
          <ac:spMkLst>
            <pc:docMk/>
            <pc:sldMk cId="102467267" sldId="481"/>
            <ac:spMk id="31" creationId="{A747AACB-0C27-4841-BF8A-92FEEC959ACB}"/>
          </ac:spMkLst>
        </pc:spChg>
      </pc:sldChg>
      <pc:sldChg chg="modSp">
        <pc:chgData name="Sándor Katona" userId="6d5ef71d-980f-4f4a-baaa-fa3e8faeb840" providerId="ADAL" clId="{E8756749-71F2-455B-9D45-B82C5FCE4C7C}" dt="2018-11-20T10:22:26.716" v="487" actId="20577"/>
        <pc:sldMkLst>
          <pc:docMk/>
          <pc:sldMk cId="2105220048" sldId="545"/>
        </pc:sldMkLst>
        <pc:spChg chg="mod">
          <ac:chgData name="Sándor Katona" userId="6d5ef71d-980f-4f4a-baaa-fa3e8faeb840" providerId="ADAL" clId="{E8756749-71F2-455B-9D45-B82C5FCE4C7C}" dt="2018-11-20T10:22:26.716" v="487" actId="20577"/>
          <ac:spMkLst>
            <pc:docMk/>
            <pc:sldMk cId="2105220048" sldId="545"/>
            <ac:spMk id="160" creationId="{00000000-0000-0000-0000-000000000000}"/>
          </ac:spMkLst>
        </pc:spChg>
        <pc:cxnChg chg="mod">
          <ac:chgData name="Sándor Katona" userId="6d5ef71d-980f-4f4a-baaa-fa3e8faeb840" providerId="ADAL" clId="{E8756749-71F2-455B-9D45-B82C5FCE4C7C}" dt="2018-11-20T10:21:35.090" v="474" actId="1076"/>
          <ac:cxnSpMkLst>
            <pc:docMk/>
            <pc:sldMk cId="2105220048" sldId="545"/>
            <ac:cxnSpMk id="206" creationId="{00000000-0000-0000-0000-000000000000}"/>
          </ac:cxnSpMkLst>
        </pc:cxnChg>
      </pc:sldChg>
      <pc:sldChg chg="modSp">
        <pc:chgData name="Sándor Katona" userId="6d5ef71d-980f-4f4a-baaa-fa3e8faeb840" providerId="ADAL" clId="{E8756749-71F2-455B-9D45-B82C5FCE4C7C}" dt="2018-11-20T10:20:50.987" v="473" actId="404"/>
        <pc:sldMkLst>
          <pc:docMk/>
          <pc:sldMk cId="3024279750" sldId="554"/>
        </pc:sldMkLst>
        <pc:spChg chg="mod">
          <ac:chgData name="Sándor Katona" userId="6d5ef71d-980f-4f4a-baaa-fa3e8faeb840" providerId="ADAL" clId="{E8756749-71F2-455B-9D45-B82C5FCE4C7C}" dt="2018-11-20T10:20:50.987" v="473" actId="404"/>
          <ac:spMkLst>
            <pc:docMk/>
            <pc:sldMk cId="3024279750" sldId="554"/>
            <ac:spMk id="164" creationId="{AE2D198F-CC24-4CBE-AFBD-407662090D86}"/>
          </ac:spMkLst>
        </pc:spChg>
      </pc:sldChg>
      <pc:sldChg chg="addSp delSp modSp">
        <pc:chgData name="Sándor Katona" userId="6d5ef71d-980f-4f4a-baaa-fa3e8faeb840" providerId="ADAL" clId="{E8756749-71F2-455B-9D45-B82C5FCE4C7C}" dt="2018-11-20T19:41:31.499" v="2127" actId="14100"/>
        <pc:sldMkLst>
          <pc:docMk/>
          <pc:sldMk cId="2074484583" sldId="555"/>
        </pc:sldMkLst>
        <pc:spChg chg="mod">
          <ac:chgData name="Sándor Katona" userId="6d5ef71d-980f-4f4a-baaa-fa3e8faeb840" providerId="ADAL" clId="{E8756749-71F2-455B-9D45-B82C5FCE4C7C}" dt="2018-11-20T18:29:36.971" v="1937" actId="14100"/>
          <ac:spMkLst>
            <pc:docMk/>
            <pc:sldMk cId="2074484583" sldId="555"/>
            <ac:spMk id="2" creationId="{60EAB77C-7210-4F11-888E-0FEF1C139E82}"/>
          </ac:spMkLst>
        </pc:spChg>
        <pc:picChg chg="add mod">
          <ac:chgData name="Sándor Katona" userId="6d5ef71d-980f-4f4a-baaa-fa3e8faeb840" providerId="ADAL" clId="{E8756749-71F2-455B-9D45-B82C5FCE4C7C}" dt="2018-11-20T19:37:09.834" v="2107" actId="1036"/>
          <ac:picMkLst>
            <pc:docMk/>
            <pc:sldMk cId="2074484583" sldId="555"/>
            <ac:picMk id="4" creationId="{B44A8846-BFF8-4021-AD13-70E4406D5818}"/>
          </ac:picMkLst>
        </pc:picChg>
        <pc:picChg chg="add del mod">
          <ac:chgData name="Sándor Katona" userId="6d5ef71d-980f-4f4a-baaa-fa3e8faeb840" providerId="ADAL" clId="{E8756749-71F2-455B-9D45-B82C5FCE4C7C}" dt="2018-11-20T18:40:49.830" v="1953" actId="478"/>
          <ac:picMkLst>
            <pc:docMk/>
            <pc:sldMk cId="2074484583" sldId="555"/>
            <ac:picMk id="5" creationId="{185EF771-951E-482E-A561-13FD47B24F2E}"/>
          </ac:picMkLst>
        </pc:picChg>
        <pc:picChg chg="add del mod">
          <ac:chgData name="Sándor Katona" userId="6d5ef71d-980f-4f4a-baaa-fa3e8faeb840" providerId="ADAL" clId="{E8756749-71F2-455B-9D45-B82C5FCE4C7C}" dt="2018-11-20T19:36:08.541" v="2033" actId="478"/>
          <ac:picMkLst>
            <pc:docMk/>
            <pc:sldMk cId="2074484583" sldId="555"/>
            <ac:picMk id="6" creationId="{6887B0E1-A80F-4687-849F-4CF8B3DA19E3}"/>
          </ac:picMkLst>
        </pc:picChg>
        <pc:picChg chg="add del mod">
          <ac:chgData name="Sándor Katona" userId="6d5ef71d-980f-4f4a-baaa-fa3e8faeb840" providerId="ADAL" clId="{E8756749-71F2-455B-9D45-B82C5FCE4C7C}" dt="2018-11-20T19:41:01.600" v="2108" actId="478"/>
          <ac:picMkLst>
            <pc:docMk/>
            <pc:sldMk cId="2074484583" sldId="555"/>
            <ac:picMk id="7" creationId="{72FEC818-7DF9-4663-8D25-404C65D33AFF}"/>
          </ac:picMkLst>
        </pc:picChg>
        <pc:picChg chg="add mod">
          <ac:chgData name="Sándor Katona" userId="6d5ef71d-980f-4f4a-baaa-fa3e8faeb840" providerId="ADAL" clId="{E8756749-71F2-455B-9D45-B82C5FCE4C7C}" dt="2018-11-20T19:41:31.499" v="2127" actId="14100"/>
          <ac:picMkLst>
            <pc:docMk/>
            <pc:sldMk cId="2074484583" sldId="555"/>
            <ac:picMk id="8" creationId="{315D1FDC-AB7F-4968-A2FE-EC4F7D2C06EF}"/>
          </ac:picMkLst>
        </pc:picChg>
      </pc:sldChg>
      <pc:sldChg chg="addSp delSp modSp add">
        <pc:chgData name="Sándor Katona" userId="6d5ef71d-980f-4f4a-baaa-fa3e8faeb840" providerId="ADAL" clId="{E8756749-71F2-455B-9D45-B82C5FCE4C7C}" dt="2018-11-20T13:50:44.343" v="1867" actId="1035"/>
        <pc:sldMkLst>
          <pc:docMk/>
          <pc:sldMk cId="2184992895" sldId="556"/>
        </pc:sldMkLst>
        <pc:spChg chg="del">
          <ac:chgData name="Sándor Katona" userId="6d5ef71d-980f-4f4a-baaa-fa3e8faeb840" providerId="ADAL" clId="{E8756749-71F2-455B-9D45-B82C5FCE4C7C}" dt="2018-11-20T10:03:13.324" v="40" actId="478"/>
          <ac:spMkLst>
            <pc:docMk/>
            <pc:sldMk cId="2184992895" sldId="556"/>
            <ac:spMk id="2" creationId="{C738ADF0-0067-4AE0-BC13-81997ED0B7F9}"/>
          </ac:spMkLst>
        </pc:spChg>
        <pc:spChg chg="mod">
          <ac:chgData name="Sándor Katona" userId="6d5ef71d-980f-4f4a-baaa-fa3e8faeb840" providerId="ADAL" clId="{E8756749-71F2-455B-9D45-B82C5FCE4C7C}" dt="2018-11-20T13:50:44.343" v="1867" actId="1035"/>
          <ac:spMkLst>
            <pc:docMk/>
            <pc:sldMk cId="2184992895" sldId="556"/>
            <ac:spMk id="3" creationId="{44B0EEC4-2E96-4D97-A4D7-15C9E444F5D8}"/>
          </ac:spMkLst>
        </pc:spChg>
        <pc:picChg chg="add mod">
          <ac:chgData name="Sándor Katona" userId="6d5ef71d-980f-4f4a-baaa-fa3e8faeb840" providerId="ADAL" clId="{E8756749-71F2-455B-9D45-B82C5FCE4C7C}" dt="2018-11-20T10:03:27.425" v="44" actId="14100"/>
          <ac:picMkLst>
            <pc:docMk/>
            <pc:sldMk cId="2184992895" sldId="556"/>
            <ac:picMk id="4" creationId="{0B03C4D2-8601-426A-A512-171E6D6DCF2C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/>
            </a:lvl1pPr>
          </a:lstStyle>
          <a:p>
            <a:r>
              <a:rPr lang="en-US" sz="1200"/>
              <a:t>Massive IoT Infrastructure </a:t>
            </a:r>
            <a:endParaRPr lang="en-US" sz="1200" dirty="0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9900" y="0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/>
            </a:lvl1pPr>
          </a:lstStyle>
          <a:p>
            <a:r>
              <a:rPr lang="en-US" sz="1200"/>
              <a:t>2018-11-12 </a:t>
            </a:r>
            <a:endParaRPr lang="en-US" sz="1200" dirty="0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516038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300"/>
            </a:lvl1pPr>
          </a:lstStyle>
          <a:p>
            <a:r>
              <a:rPr lang="en-US" sz="1200"/>
              <a:t> </a:t>
            </a:r>
            <a:endParaRPr lang="en-US" sz="1200" dirty="0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9900" y="9516038"/>
            <a:ext cx="2983495" cy="50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300"/>
            </a:lvl1pPr>
          </a:lstStyle>
          <a:p>
            <a:fld id="{4ECEF30E-552D-42ED-82CA-C73F83CA10A8}" type="slidenum">
              <a:rPr lang="en-US" sz="120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8558323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"/>
          </p:nvPr>
        </p:nvSpPr>
        <p:spPr>
          <a:xfrm>
            <a:off x="3900488" y="0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5"/>
          </p:nvPr>
        </p:nvSpPr>
        <p:spPr>
          <a:xfrm>
            <a:off x="3900488" y="9515475"/>
            <a:ext cx="2982912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53D-F306-481A-B3D0-C36CE0BF956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5" name="Slide Image Placeholder 4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50888"/>
            <a:ext cx="6678612" cy="37576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515475"/>
            <a:ext cx="2982913" cy="5016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Notes Placeholder 6"/>
          <p:cNvSpPr>
            <a:spLocks noGrp="1"/>
          </p:cNvSpPr>
          <p:nvPr>
            <p:ph type="body" sz="quarter" idx="3"/>
          </p:nvPr>
        </p:nvSpPr>
        <p:spPr>
          <a:xfrm>
            <a:off x="688975" y="4759325"/>
            <a:ext cx="5507038" cy="45085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8257339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3188" y="750888"/>
            <a:ext cx="6678612" cy="3757612"/>
          </a:xfrm>
          <a:prstGeom prst="rect">
            <a:avLst/>
          </a:prstGeom>
          <a:ln/>
        </p:spPr>
      </p:sp>
      <p:sp>
        <p:nvSpPr>
          <p:cNvPr id="808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8499" y="4758889"/>
            <a:ext cx="5507990" cy="4508421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4835A3-BB41-42A1-B17B-EE6AD2999DEE}" type="slidenum">
              <a:rPr lang="en-US" smtClean="0"/>
              <a:t>1</a:t>
            </a:fld>
            <a:endParaRPr lang="en-US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695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1479ADD-4A69-49BB-AA6D-986DDBFDBBB3}" type="slidenum">
              <a:rPr lang="en-US" smtClean="0"/>
              <a:t>11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6955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78612" cy="3757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8C60489-E7ED-4990-9FED-06AD1C41CFB6}" type="slidenum">
              <a:rPr lang="en-US" smtClean="0"/>
              <a:t>12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200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3188" y="750888"/>
            <a:ext cx="6678612" cy="3757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2018-11-12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ADCBF4-4AF6-42CF-BF4F-B41FBBF3F4FE}" type="slidenum">
              <a:rPr lang="en-US" smtClean="0">
                <a:solidFill>
                  <a:prstClr val="black"/>
                </a:solidFill>
              </a:r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Massive IoT Infrastructure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687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DCFD30C-06E4-4570-A4CF-6612E437E81F}" type="slidenum">
              <a:rPr lang="en-US" smtClean="0"/>
              <a:t>3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8639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0" dirty="0"/>
              <a:t>The 4G System Architecture contains the following Network</a:t>
            </a:r>
            <a:r>
              <a:rPr lang="en-US" sz="1200" kern="0" baseline="0" dirty="0"/>
              <a:t> Elements:</a:t>
            </a:r>
            <a:endParaRPr lang="en-US" dirty="0"/>
          </a:p>
          <a:p>
            <a:r>
              <a:rPr lang="en-US" dirty="0"/>
              <a:t>HSS:	Home Subscriber Server </a:t>
            </a:r>
          </a:p>
          <a:p>
            <a:r>
              <a:rPr lang="en-US" dirty="0"/>
              <a:t>LTE-M UE: 	Long Term Evolution Category Minus User Equipment</a:t>
            </a:r>
          </a:p>
          <a:p>
            <a:r>
              <a:rPr lang="en-US" dirty="0"/>
              <a:t>NB-IoT UE: 	Narrow Band Internet of Things User Equipment</a:t>
            </a:r>
          </a:p>
          <a:p>
            <a:r>
              <a:rPr lang="en-US" dirty="0"/>
              <a:t>MME:	Mobility Management Entity</a:t>
            </a:r>
          </a:p>
          <a:p>
            <a:r>
              <a:rPr lang="en-US" dirty="0"/>
              <a:t>PDN GW: 	Packet Data Network Gateway</a:t>
            </a:r>
          </a:p>
          <a:p>
            <a:r>
              <a:rPr lang="en-US" dirty="0"/>
              <a:t>RAN:	Radio Access Network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CEF:	Service Capability Exposure Function</a:t>
            </a:r>
          </a:p>
          <a:p>
            <a:r>
              <a:rPr lang="en-US" dirty="0"/>
              <a:t>SGW:	Serving Gateway</a:t>
            </a:r>
          </a:p>
          <a:p>
            <a:r>
              <a:rPr lang="en-US" dirty="0"/>
              <a:t>SMSC:	SMS Cen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A64B31-026D-41C3-9F07-D83A5EB29C2D}" type="slidenum">
              <a:rPr lang="en-US" smtClean="0"/>
              <a:t>5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5469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0" dirty="0"/>
              <a:t>IP data over CP/DoNAS takes </a:t>
            </a:r>
            <a:r>
              <a:rPr lang="en-US" sz="1200" kern="0" dirty="0" err="1"/>
              <a:t>SGi</a:t>
            </a:r>
            <a:r>
              <a:rPr lang="en-US" sz="1200" kern="0" dirty="0"/>
              <a:t> route (only option in the standard)</a:t>
            </a:r>
          </a:p>
          <a:p>
            <a:r>
              <a:rPr lang="en-US" sz="1200" kern="0" dirty="0"/>
              <a:t>Non-IP data over CP/DoNAS can take </a:t>
            </a:r>
            <a:r>
              <a:rPr lang="en-US" sz="1200" kern="0" dirty="0" err="1"/>
              <a:t>SGi</a:t>
            </a:r>
            <a:r>
              <a:rPr lang="en-US" sz="1200" kern="0" dirty="0"/>
              <a:t> route or T6a rout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kern="0" dirty="0"/>
              <a:t>Alternatives: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oNAS: Non-IP, Control Plane from UE. Data sent from MME to SCEF over T6a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oNAS:</a:t>
            </a:r>
            <a:r>
              <a:rPr lang="en-US" baseline="0" dirty="0"/>
              <a:t> </a:t>
            </a:r>
            <a:r>
              <a:rPr lang="en-US" dirty="0"/>
              <a:t>Non-IP, Control Plane from UE. Data sent from MME to PGW over S11/S5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DoNAS: IP, Control Plane from UE. Data sent from MME to PGW over S11/S5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Non-IP, User Plane from UE. Data sent from MME to PGW over S11/S5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IP, </a:t>
            </a:r>
            <a:r>
              <a:rPr lang="en-US" dirty="0" err="1"/>
              <a:t>USer</a:t>
            </a:r>
            <a:r>
              <a:rPr lang="en-US" dirty="0"/>
              <a:t> Plane from UE. 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0" dirty="0"/>
          </a:p>
          <a:p>
            <a:r>
              <a:rPr lang="en-US" dirty="0"/>
              <a:t>CR 23.401 S2-163058</a:t>
            </a:r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CB4EA29-A645-4168-92EC-5D2B29B6DFED}" type="slidenum">
              <a:rPr lang="en-US" smtClean="0"/>
              <a:t>6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2549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bbreviations</a:t>
            </a:r>
            <a:r>
              <a:rPr lang="en-US" dirty="0"/>
              <a:t>:</a:t>
            </a:r>
          </a:p>
          <a:p>
            <a:r>
              <a:rPr lang="en-US" dirty="0"/>
              <a:t>GTP-U: 	GPRS Tunneling Protocol – User Plane</a:t>
            </a:r>
          </a:p>
          <a:p>
            <a:r>
              <a:rPr lang="en-US" dirty="0"/>
              <a:t>IP: 	Internet Protocol</a:t>
            </a:r>
          </a:p>
          <a:p>
            <a:r>
              <a:rPr lang="en-US" dirty="0"/>
              <a:t>L1: 	Layer 1 – physical layer</a:t>
            </a:r>
          </a:p>
          <a:p>
            <a:r>
              <a:rPr lang="en-US" dirty="0"/>
              <a:t>L2:	Layer 2 – data link layer</a:t>
            </a:r>
          </a:p>
          <a:p>
            <a:r>
              <a:rPr lang="en-US" dirty="0"/>
              <a:t>MAC: 	Media Access Control</a:t>
            </a:r>
          </a:p>
          <a:p>
            <a:r>
              <a:rPr lang="en-US" dirty="0"/>
              <a:t>NAS: 	Non-Access Stratum</a:t>
            </a:r>
          </a:p>
          <a:p>
            <a:r>
              <a:rPr lang="en-US" dirty="0"/>
              <a:t>PDCP: 	Packet Data Convergence Control</a:t>
            </a:r>
          </a:p>
          <a:p>
            <a:r>
              <a:rPr lang="en-US" dirty="0"/>
              <a:t>RLC: 	Radio Link Control</a:t>
            </a:r>
          </a:p>
          <a:p>
            <a:r>
              <a:rPr lang="en-US" dirty="0"/>
              <a:t>ROHC: 	Robust Header Compression</a:t>
            </a:r>
          </a:p>
          <a:p>
            <a:r>
              <a:rPr lang="en-US" dirty="0"/>
              <a:t>S1AP: 	S1 Application Protocol</a:t>
            </a:r>
          </a:p>
          <a:p>
            <a:r>
              <a:rPr lang="en-US" dirty="0"/>
              <a:t>SCTP: 	Stream Control Transmission Protocol</a:t>
            </a:r>
          </a:p>
          <a:p>
            <a:r>
              <a:rPr lang="en-US" dirty="0"/>
              <a:t>UDP: 	User datagram Protocol</a:t>
            </a:r>
          </a:p>
          <a:p>
            <a:endParaRPr lang="hu-HU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2018-11-12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668513D-59EB-4027-80DA-33559FE3D0A5}" type="slidenum">
              <a:rPr lang="en-US" smtClean="0"/>
              <a:t>7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5278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sz="1400" dirty="0">
              <a:latin typeface="Arial" panose="020B0604020202020204" pitchFamily="34" charset="0"/>
            </a:endParaRPr>
          </a:p>
        </p:txBody>
      </p:sp>
      <p:sp>
        <p:nvSpPr>
          <p:cNvPr id="16388" name="Date Placehold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altLang="en-US" sz="17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18-11-12 </a:t>
            </a:r>
            <a:endParaRPr kumimoji="0" lang="en-US" altLang="en-US" sz="17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389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0888" indent="-288925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5700" indent="-2301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19250" indent="-2301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1213" indent="-230188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38413" indent="-2301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5613" indent="-2301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2813" indent="-2301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0013" indent="-230188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1978C3-F218-4D69-910E-D3CDF80D1524}" type="slidenum">
              <a:rPr kumimoji="0" lang="en-US" alt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8</a:t>
            </a:fld>
            <a:endParaRPr kumimoji="0" lang="en-US" alt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Massive IoT Infrastructure 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13719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200" kern="0" dirty="0"/>
              <a:t>The 5G System Architecture contains the following Network</a:t>
            </a:r>
            <a:r>
              <a:rPr lang="en-US" sz="1200" kern="0" baseline="0" dirty="0"/>
              <a:t> Functions:</a:t>
            </a:r>
            <a:endParaRPr lang="en-US" sz="1200" kern="0" dirty="0"/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RF/BF</a:t>
            </a:r>
            <a:r>
              <a:rPr lang="en-US" dirty="0"/>
              <a:t>: Radio function/ Beamforming functio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BPF</a:t>
            </a:r>
            <a:r>
              <a:rPr lang="en-US" dirty="0"/>
              <a:t>:    Baseband Processing functio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PPF</a:t>
            </a:r>
            <a:r>
              <a:rPr lang="en-US" dirty="0"/>
              <a:t>:    Packet Processing function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/>
              <a:t>RCF</a:t>
            </a:r>
            <a:r>
              <a:rPr lang="en-US" dirty="0"/>
              <a:t>:    Radio Controller function</a:t>
            </a:r>
          </a:p>
          <a:p>
            <a:endParaRPr lang="en-US" sz="1200" kern="0" dirty="0"/>
          </a:p>
          <a:p>
            <a:pPr hangingPunct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AF</a:t>
            </a:r>
            <a:r>
              <a:rPr lang="en-US" sz="1200" dirty="0"/>
              <a:t>	Application Function</a:t>
            </a:r>
          </a:p>
          <a:p>
            <a:pPr hangingPunct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AMF</a:t>
            </a:r>
            <a:r>
              <a:rPr lang="en-US" sz="1200" dirty="0"/>
              <a:t>	Access and Mobility Management Function</a:t>
            </a:r>
          </a:p>
          <a:p>
            <a:pPr lvl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AUSF</a:t>
            </a:r>
            <a:r>
              <a:rPr lang="en-US" sz="1200" dirty="0"/>
              <a:t>	Authentication Server Function </a:t>
            </a:r>
          </a:p>
          <a:p>
            <a:pPr lvl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NEF</a:t>
            </a:r>
            <a:r>
              <a:rPr lang="en-US" sz="1200" dirty="0"/>
              <a:t>	Network Exposure Function</a:t>
            </a:r>
          </a:p>
          <a:p>
            <a:pPr lvl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NRF</a:t>
            </a:r>
            <a:r>
              <a:rPr lang="en-US" sz="1200" dirty="0"/>
              <a:t>	Network Repository Function</a:t>
            </a:r>
          </a:p>
          <a:p>
            <a:pPr lvl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PCF</a:t>
            </a:r>
            <a:r>
              <a:rPr lang="en-US" sz="1200" dirty="0"/>
              <a:t>	Policy Control Function</a:t>
            </a:r>
          </a:p>
          <a:p>
            <a:pPr hangingPunct="0"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SMF</a:t>
            </a:r>
            <a:r>
              <a:rPr lang="en-US" sz="1200" dirty="0"/>
              <a:t>	Session Management Function</a:t>
            </a:r>
          </a:p>
          <a:p>
            <a:pPr>
              <a:spcBef>
                <a:spcPts val="0"/>
              </a:spcBef>
              <a:tabLst>
                <a:tab pos="536575" algn="l"/>
              </a:tabLst>
            </a:pPr>
            <a:r>
              <a:rPr lang="en-US" sz="1200" b="1" dirty="0"/>
              <a:t>UDM</a:t>
            </a:r>
            <a:r>
              <a:rPr lang="en-US" sz="1200" dirty="0"/>
              <a:t>	Unified Data Management </a:t>
            </a:r>
          </a:p>
          <a:p>
            <a:pPr lvl="0">
              <a:spcBef>
                <a:spcPts val="0"/>
              </a:spcBef>
              <a:tabLst>
                <a:tab pos="536575" algn="l"/>
              </a:tabLst>
            </a:pPr>
            <a:endParaRPr lang="en-US" altLang="en-US" dirty="0">
              <a:latin typeface="Arial" panose="020B0604020202020204" pitchFamily="34" charset="0"/>
            </a:endParaRPr>
          </a:p>
          <a:p>
            <a:r>
              <a:rPr lang="en-US" sz="1400" kern="0" dirty="0"/>
              <a:t>The 5G System Architecture contains the following service-based interfaces:</a:t>
            </a:r>
          </a:p>
          <a:p>
            <a:pPr lvl="1"/>
            <a:r>
              <a:rPr lang="en-US" sz="1000" b="1" kern="0" dirty="0" err="1"/>
              <a:t>Namf</a:t>
            </a:r>
            <a:r>
              <a:rPr lang="en-US" sz="1000" b="1" kern="0" dirty="0"/>
              <a:t>:</a:t>
            </a:r>
            <a:r>
              <a:rPr lang="en-US" sz="1000" kern="0" dirty="0"/>
              <a:t>	Service-based interface exhibited by AMF.</a:t>
            </a:r>
          </a:p>
          <a:p>
            <a:pPr lvl="1"/>
            <a:r>
              <a:rPr lang="en-US" sz="1000" b="1" kern="0" dirty="0" err="1"/>
              <a:t>Nsmf</a:t>
            </a:r>
            <a:r>
              <a:rPr lang="en-US" sz="1000" b="1" kern="0" dirty="0"/>
              <a:t>:</a:t>
            </a:r>
            <a:r>
              <a:rPr lang="en-US" sz="1000" kern="0" dirty="0"/>
              <a:t>	Service-based interface exhibited by SMF.</a:t>
            </a:r>
          </a:p>
          <a:p>
            <a:pPr lvl="1"/>
            <a:r>
              <a:rPr lang="en-US" sz="1000" b="1" kern="0" dirty="0" err="1"/>
              <a:t>Nnef</a:t>
            </a:r>
            <a:r>
              <a:rPr lang="en-US" sz="1000" b="1" kern="0" dirty="0"/>
              <a:t>:</a:t>
            </a:r>
            <a:r>
              <a:rPr lang="en-US" sz="1000" kern="0" dirty="0"/>
              <a:t>	Service-based interface exhibited by NEF.</a:t>
            </a:r>
          </a:p>
          <a:p>
            <a:pPr lvl="1"/>
            <a:r>
              <a:rPr lang="en-US" sz="1000" b="1" kern="0" dirty="0" err="1"/>
              <a:t>Npcf</a:t>
            </a:r>
            <a:r>
              <a:rPr lang="en-US" sz="1000" b="1" kern="0" dirty="0"/>
              <a:t>:</a:t>
            </a:r>
            <a:r>
              <a:rPr lang="en-US" sz="1000" kern="0" dirty="0"/>
              <a:t>	Service-based interface exhibited by PCF.</a:t>
            </a:r>
          </a:p>
          <a:p>
            <a:pPr lvl="1"/>
            <a:r>
              <a:rPr lang="en-US" sz="1000" b="1" kern="0" dirty="0" err="1"/>
              <a:t>Nudm</a:t>
            </a:r>
            <a:r>
              <a:rPr lang="en-US" sz="1000" b="1" kern="0" dirty="0"/>
              <a:t>: </a:t>
            </a:r>
            <a:r>
              <a:rPr lang="en-US" sz="1000" kern="0" dirty="0"/>
              <a:t>Service-based interface exhibited by UDM.</a:t>
            </a:r>
          </a:p>
          <a:p>
            <a:pPr lvl="1"/>
            <a:r>
              <a:rPr lang="en-US" sz="1000" b="1" kern="0" dirty="0" err="1"/>
              <a:t>Naf</a:t>
            </a:r>
            <a:r>
              <a:rPr lang="en-US" sz="1000" b="1" kern="0" dirty="0"/>
              <a:t>:</a:t>
            </a:r>
            <a:r>
              <a:rPr lang="en-US" sz="1000" kern="0" dirty="0"/>
              <a:t>	Service-based interface exhibited by AF.</a:t>
            </a:r>
          </a:p>
          <a:p>
            <a:pPr lvl="1"/>
            <a:r>
              <a:rPr lang="en-US" sz="1000" b="1" kern="0" dirty="0" err="1"/>
              <a:t>Nnrf</a:t>
            </a:r>
            <a:r>
              <a:rPr lang="en-US" sz="1000" b="1" kern="0" dirty="0"/>
              <a:t>:</a:t>
            </a:r>
            <a:r>
              <a:rPr lang="en-US" sz="1000" kern="0" dirty="0"/>
              <a:t>	Service-based interface exhibited by NRF.</a:t>
            </a:r>
          </a:p>
          <a:p>
            <a:pPr lvl="1"/>
            <a:r>
              <a:rPr lang="en-US" sz="1000" b="1" kern="0" dirty="0" err="1"/>
              <a:t>Nausf</a:t>
            </a:r>
            <a:r>
              <a:rPr lang="en-US" sz="1000" b="1" kern="0" dirty="0"/>
              <a:t>: </a:t>
            </a:r>
            <a:r>
              <a:rPr lang="en-US" sz="1000" kern="0" dirty="0"/>
              <a:t>Service-based interface exhibited by AUSF.</a:t>
            </a:r>
            <a:endParaRPr lang="en-US" altLang="en-US" dirty="0">
              <a:latin typeface="Arial" panose="020B0604020202020204" pitchFamily="34" charset="0"/>
            </a:endParaRPr>
          </a:p>
        </p:txBody>
      </p:sp>
      <p:sp>
        <p:nvSpPr>
          <p:cNvPr id="26628" name="Date Placehold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200"/>
              <a:t>2018-11-12 </a:t>
            </a:r>
          </a:p>
        </p:txBody>
      </p:sp>
      <p:sp>
        <p:nvSpPr>
          <p:cNvPr id="26629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6D28FEE-F3A3-44AB-A98D-3F62C59300F6}" type="slidenum">
              <a:rPr lang="en-US" altLang="en-US" sz="1200" smtClean="0"/>
              <a:t>9</a:t>
            </a:fld>
            <a:endParaRPr lang="en-US" altLang="en-US" sz="120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Massive IoT Infrastructure 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226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sz="1200" kern="1200" baseline="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2018-11-12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8373" name="Slide Number Placeholder 4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51940" indent="-28920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56830" indent="-2313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19562" indent="-2313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82295" indent="-231366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45027" indent="-2313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3007759" indent="-2313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70491" indent="-2313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933223" indent="-231366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E8B1728A-C943-4118-9D1C-4BF4D4106F49}" type="slidenum">
              <a:rPr lang="en-US" altLang="en-US" smtClean="0">
                <a:solidFill>
                  <a:srgbClr val="000000"/>
                </a:solidFill>
              </a:rPr>
              <a:t>10</a:t>
            </a:fld>
            <a:endParaRPr lang="en-US" altLang="en-US" dirty="0">
              <a:solidFill>
                <a:srgbClr val="000000"/>
              </a:solidFill>
            </a:endParaRPr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Massive IoT Infrastructure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prstClr val="black"/>
                </a:solidFill>
              </a:rPr>
              <a:t>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007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2" name="LeftInfo"/>
          <p:cNvSpPr txBox="1">
            <a:spLocks noChangeArrowheads="1"/>
          </p:cNvSpPr>
          <p:nvPr/>
        </p:nvSpPr>
        <p:spPr bwMode="auto">
          <a:xfrm>
            <a:off x="-2019299" y="2828876"/>
            <a:ext cx="1968500" cy="341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</a:rPr>
              <a:t>Slide title</a:t>
            </a:r>
          </a:p>
          <a:p>
            <a:pPr algn="r"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</a:rPr>
              <a:t>70 pt</a:t>
            </a: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r>
              <a:rPr lang="en-US" sz="1200" dirty="0">
                <a:solidFill>
                  <a:srgbClr val="9FB7D3"/>
                </a:solidFill>
              </a:rPr>
              <a:t>CAPITALS</a:t>
            </a: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</a:rPr>
              <a:t>Slide subtitle </a:t>
            </a:r>
          </a:p>
          <a:p>
            <a:pPr algn="r">
              <a:spcBef>
                <a:spcPct val="0"/>
              </a:spcBef>
            </a:pPr>
            <a:r>
              <a:rPr lang="en-US" sz="1200" dirty="0">
                <a:solidFill>
                  <a:srgbClr val="FFFFFF"/>
                </a:solidFill>
              </a:rPr>
              <a:t>minimum 30 pt</a:t>
            </a:r>
          </a:p>
          <a:p>
            <a:pPr algn="r">
              <a:spcBef>
                <a:spcPct val="0"/>
              </a:spcBef>
            </a:pP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6" name="Logo2011" descr="ERI_UF_rgb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628483" y="432000"/>
            <a:ext cx="1027112" cy="900113"/>
          </a:xfrm>
          <a:prstGeom prst="rect">
            <a:avLst/>
          </a:prstGeom>
          <a:noFill/>
        </p:spPr>
      </p:pic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24932" y="5137201"/>
            <a:ext cx="11140019" cy="1386001"/>
          </a:xfrm>
        </p:spPr>
        <p:txBody>
          <a:bodyPr anchor="b" anchorCtr="0"/>
          <a:lstStyle>
            <a:lvl1pPr marL="0" indent="0">
              <a:lnSpc>
                <a:spcPct val="75000"/>
              </a:lnSpc>
              <a:spcBef>
                <a:spcPts val="0"/>
              </a:spcBef>
              <a:buFont typeface="Arial" charset="0"/>
              <a:buNone/>
              <a:defRPr sz="3000" baseline="0">
                <a:latin typeface="+mn-lt"/>
              </a:defRPr>
            </a:lvl1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4934" y="1808710"/>
            <a:ext cx="11135785" cy="2839491"/>
          </a:xfrm>
        </p:spPr>
        <p:txBody>
          <a:bodyPr anchor="ctr">
            <a:normAutofit/>
          </a:bodyPr>
          <a:lstStyle>
            <a:lvl1pPr>
              <a:lnSpc>
                <a:spcPct val="75000"/>
              </a:lnSpc>
              <a:defRPr sz="7000">
                <a:latin typeface="Ericsson Capital T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524934" y="4010025"/>
            <a:ext cx="11140017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524935" y="1795463"/>
            <a:ext cx="11140016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Content over two content p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6193367" y="4010025"/>
            <a:ext cx="5471584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524934" y="4010025"/>
            <a:ext cx="5473700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529167" y="1795463"/>
            <a:ext cx="11135784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wo content parts over conten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524934" y="4010025"/>
            <a:ext cx="11140017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193367" y="1795463"/>
            <a:ext cx="5471584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529167" y="1795463"/>
            <a:ext cx="5469467" cy="20701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 dirty="0"/>
              <a:t>Click to ADD titl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67" y="4013201"/>
            <a:ext cx="5467351" cy="20669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3367" y="1795464"/>
            <a:ext cx="5467351" cy="2065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34" y="1795463"/>
            <a:ext cx="5465233" cy="42846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4234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half" idx="3"/>
          </p:nvPr>
        </p:nvSpPr>
        <p:spPr>
          <a:xfrm>
            <a:off x="6197601" y="1795463"/>
            <a:ext cx="5467351" cy="42846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529168" y="4013201"/>
            <a:ext cx="5465233" cy="20669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68" y="1795464"/>
            <a:ext cx="5465233" cy="2065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7271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4"/>
          </p:nvPr>
        </p:nvSpPr>
        <p:spPr>
          <a:xfrm>
            <a:off x="6197601" y="4022726"/>
            <a:ext cx="5467351" cy="20669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529168" y="4022726"/>
            <a:ext cx="5465233" cy="20669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/>
          </p:nvPr>
        </p:nvSpPr>
        <p:spPr>
          <a:xfrm>
            <a:off x="6197601" y="1804989"/>
            <a:ext cx="5467351" cy="2065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/>
          </p:nvPr>
        </p:nvSpPr>
        <p:spPr>
          <a:xfrm>
            <a:off x="529168" y="1804989"/>
            <a:ext cx="5465233" cy="20653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81117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03356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40375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529168" y="1800000"/>
            <a:ext cx="11135785" cy="385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432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3"/>
          <p:cNvSpPr>
            <a:spLocks noGrp="1"/>
          </p:cNvSpPr>
          <p:nvPr>
            <p:ph sz="quarter" idx="3"/>
          </p:nvPr>
        </p:nvSpPr>
        <p:spPr>
          <a:xfrm>
            <a:off x="6193367" y="1795464"/>
            <a:ext cx="5467351" cy="42846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1"/>
          <p:cNvSpPr>
            <a:spLocks noGrp="1"/>
          </p:cNvSpPr>
          <p:nvPr>
            <p:ph sz="half" idx="1"/>
          </p:nvPr>
        </p:nvSpPr>
        <p:spPr>
          <a:xfrm>
            <a:off x="524934" y="1795463"/>
            <a:ext cx="5465233" cy="42846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47264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8081434" y="1800225"/>
            <a:ext cx="3583517" cy="472439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4305300" y="1800225"/>
            <a:ext cx="3583517" cy="472439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524934" y="1800225"/>
            <a:ext cx="3583517" cy="472439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524934" y="1800225"/>
            <a:ext cx="5473700" cy="47244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3" cy="1085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524934" y="1800225"/>
            <a:ext cx="5139267" cy="47244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5139265" cy="108537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835488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191251" y="1800225"/>
            <a:ext cx="5473700" cy="47244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24935" y="239714"/>
            <a:ext cx="9992784" cy="1085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73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191251" y="1800225"/>
            <a:ext cx="5473700" cy="4724400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3367" y="239714"/>
            <a:ext cx="4324351" cy="1085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9091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w small title,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6191251" y="3545841"/>
            <a:ext cx="5473700" cy="2978785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add</a:t>
            </a:r>
            <a:r>
              <a:rPr lang="sv-SE" dirty="0"/>
              <a:t>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191251" y="1797525"/>
            <a:ext cx="5473700" cy="108537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865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LeftInfo"/>
          <p:cNvSpPr txBox="1">
            <a:spLocks noChangeArrowheads="1"/>
          </p:cNvSpPr>
          <p:nvPr/>
        </p:nvSpPr>
        <p:spPr bwMode="auto">
          <a:xfrm>
            <a:off x="-2515809" y="438151"/>
            <a:ext cx="2352392" cy="59708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rgbClr val="FFFFFF"/>
                </a:solidFill>
              </a:rPr>
              <a:t>Slide title </a:t>
            </a:r>
          </a:p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rgbClr val="FFFFFF"/>
                </a:solidFill>
              </a:rPr>
              <a:t>44 pt</a:t>
            </a: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rgbClr val="FFFFFF"/>
                </a:solidFill>
              </a:rPr>
              <a:t>Text and bullet level 1</a:t>
            </a:r>
          </a:p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rgbClr val="FFFFFF"/>
                </a:solidFill>
              </a:rPr>
              <a:t> minimum 24 pt</a:t>
            </a: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rgbClr val="FFFFFF"/>
                </a:solidFill>
              </a:rPr>
              <a:t>Bullets level 2-5</a:t>
            </a:r>
          </a:p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rgbClr val="FFFFFF"/>
                </a:solidFill>
              </a:rPr>
              <a:t>minimum 20 pt</a:t>
            </a:r>
          </a:p>
          <a:p>
            <a:pPr algn="r">
              <a:spcBef>
                <a:spcPct val="0"/>
              </a:spcBef>
            </a:pPr>
            <a:endParaRPr lang="en-US" sz="1200" noProof="0" dirty="0">
              <a:solidFill>
                <a:srgbClr val="FFFFFF"/>
              </a:solidFill>
            </a:endParaRPr>
          </a:p>
          <a:p>
            <a:pPr algn="r"/>
            <a:endParaRPr lang="en-US" sz="800" noProof="0" dirty="0">
              <a:solidFill>
                <a:schemeClr val="bg1"/>
              </a:solidFill>
            </a:endParaRPr>
          </a:p>
          <a:p>
            <a:pPr algn="r"/>
            <a:endParaRPr lang="en-US" sz="800" noProof="0" dirty="0">
              <a:solidFill>
                <a:schemeClr val="bg1"/>
              </a:solidFill>
            </a:endParaRPr>
          </a:p>
          <a:p>
            <a:pPr algn="r"/>
            <a:endParaRPr lang="en-US" sz="800" noProof="0" dirty="0">
              <a:solidFill>
                <a:schemeClr val="bg1"/>
              </a:solidFill>
            </a:endParaRPr>
          </a:p>
          <a:p>
            <a:r>
              <a:rPr lang="en-US" sz="500" noProof="0" dirty="0">
                <a:solidFill>
                  <a:srgbClr val="9FB7D3"/>
                </a:solidFill>
                <a:latin typeface="+mn-lt"/>
              </a:rPr>
              <a:t>Characters for Embedded font:</a:t>
            </a:r>
            <a:br>
              <a:rPr lang="en-US" sz="500" noProof="0" dirty="0">
                <a:solidFill>
                  <a:srgbClr val="9FB7D3"/>
                </a:solidFill>
                <a:latin typeface="+mn-lt"/>
              </a:rPr>
            </a:br>
            <a:r>
              <a:rPr lang="en-US" sz="500" noProof="0" dirty="0">
                <a:solidFill>
                  <a:srgbClr val="9FB7D3"/>
                </a:solidFill>
                <a:latin typeface="Ericsson Capital TT" pitchFamily="2" charset="0"/>
              </a:rPr>
              <a:t>!"#$%&amp;'()*+,-./0123456789:;&lt;=&gt;?@ABCDEFGHIJKLMNOPQRSTUVWXYZ[\]^_`abcdefghijklmnopqrstuvwxyz{|}~¡¢£¤¥¦§¨©ª«¬®¯°±²³´¶·¸¹º»¼½ÀÁÂÃÄÅÆÇÈËÌÍÎÏÐÑÒÓÔÕÖ×ØÙÚÛÜÝÞßàáâãäåæçèéêëìíîïðñòóôõö÷øùúûüýþÿĀāĂăąĆćĊċČĎďĐđĒĖėĘęĚěĞğĠġĢģĪīĮįİıĶķĹĺĻļĽľŁłŃńŅņŇňŌŐőŒœŔŕŖŗŘřŚśŞşŠšŢţŤťŪūŮůŰűŲųŴŵŶŷŸŹźŻżŽžƒȘșˆˇ˘˙˚˛˜˝ẀẁẃẄẅỲỳ–—‘’‚“”„†‡•…‰‹›⁄€™ĀĀĂĂĄĄĆĆĊĊČČĎĎĐĐĒĒĖĖĘĘĚĚĞĞĠĠĢĢĪĪĮĮİĶĶĹĹĻĻĽĽŃŃŅŅŇŇŌŌŐŐŔŔŖŖŘŘŚŚŞŞŢŢŤŤŪŪŮŮŰŰŲŲŴŴŶŶŹŹŻŻȘș−≤≥ﬁﬂ</a:t>
            </a:r>
            <a:endParaRPr lang="en-US" sz="500" i="1" noProof="0" dirty="0">
              <a:solidFill>
                <a:srgbClr val="9FB7D3"/>
              </a:solidFill>
              <a:latin typeface="Ericsson Capital TT" pitchFamily="2" charset="0"/>
            </a:endParaRPr>
          </a:p>
          <a:p>
            <a:endParaRPr lang="en-US" sz="500" i="1" noProof="0" dirty="0">
              <a:solidFill>
                <a:srgbClr val="9FB7D3"/>
              </a:solidFill>
              <a:latin typeface="Ericsson Capital TT" pitchFamily="2" charset="0"/>
            </a:endParaRPr>
          </a:p>
          <a:p>
            <a:r>
              <a:rPr lang="en-US" sz="500" noProof="0" dirty="0">
                <a:solidFill>
                  <a:srgbClr val="9FB7D3"/>
                </a:solidFill>
                <a:latin typeface="Ericsson Capital TT" pitchFamily="2" charset="0"/>
              </a:rPr>
              <a:t>ΆΈΉΊΌΎΏΐΑΒΓΕΖΗΘΙΚΛΜΝΞΟΠΡΣΤΥΦΧΨΪΫΆΈΉΊΰαβγδεζηθικλνξορςΣΤΥΦΧΨΩΪΫΌΎΏ</a:t>
            </a:r>
            <a:endParaRPr lang="en-US" sz="500" i="1" noProof="0" dirty="0">
              <a:solidFill>
                <a:srgbClr val="9FB7D3"/>
              </a:solidFill>
              <a:latin typeface="Ericsson Capital TT" pitchFamily="2" charset="0"/>
            </a:endParaRPr>
          </a:p>
          <a:p>
            <a:r>
              <a:rPr lang="en-US" sz="500" noProof="0" dirty="0">
                <a:solidFill>
                  <a:srgbClr val="9FB7D3"/>
                </a:solidFill>
                <a:latin typeface="Ericsson Capital TT" pitchFamily="2" charset="0"/>
              </a:rPr>
              <a:t>ЁЂЃЄЅІЇЈЉЊЋЌЎЏАБВГДЕЖЗИЙКЛМНОПРСТУФХЦЧШЩЪЫЬЭЮЯАБВГДЕЖЗИЙКЛМНОПРСТУФХЦЧШЩЪЫЬЭЮЯЁЂЃЄЅІЇЈЉЊЋЌЎЏѢѢѲѲѴѴҐҐәǽẀẁẂẃẄẅỲỳ№</a:t>
            </a:r>
          </a:p>
          <a:p>
            <a:pPr>
              <a:lnSpc>
                <a:spcPct val="80000"/>
              </a:lnSpc>
              <a:spcBef>
                <a:spcPct val="20000"/>
              </a:spcBef>
            </a:pPr>
            <a:endParaRPr lang="en-US" sz="500" noProof="0" dirty="0">
              <a:solidFill>
                <a:srgbClr val="9FB7D3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500" noProof="0" dirty="0">
              <a:solidFill>
                <a:schemeClr val="bg1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800" noProof="0" dirty="0">
              <a:solidFill>
                <a:schemeClr val="bg1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800" noProof="0" dirty="0">
              <a:solidFill>
                <a:schemeClr val="bg1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800" noProof="0" dirty="0">
              <a:solidFill>
                <a:schemeClr val="bg1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800" noProof="0" dirty="0">
              <a:solidFill>
                <a:schemeClr val="bg1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800" noProof="0" dirty="0">
              <a:solidFill>
                <a:schemeClr val="bg1"/>
              </a:solidFill>
              <a:latin typeface="Ericsson Capital TT" pitchFamily="2" charset="0"/>
            </a:endParaRPr>
          </a:p>
          <a:p>
            <a:pPr algn="r">
              <a:spcBef>
                <a:spcPct val="0"/>
              </a:spcBef>
            </a:pPr>
            <a:endParaRPr lang="en-US" sz="1400" noProof="0" dirty="0">
              <a:solidFill>
                <a:schemeClr val="bg1"/>
              </a:solidFill>
            </a:endParaRPr>
          </a:p>
          <a:p>
            <a:pPr algn="r"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Do not add objects or text in the footer area</a:t>
            </a:r>
          </a:p>
        </p:txBody>
      </p:sp>
      <p:pic>
        <p:nvPicPr>
          <p:cNvPr id="9" name="Econ2011" descr="ECON_RGB"/>
          <p:cNvPicPr>
            <a:picLocks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11209564" y="360000"/>
            <a:ext cx="444500" cy="588962"/>
          </a:xfrm>
          <a:prstGeom prst="rect">
            <a:avLst/>
          </a:prstGeom>
          <a:noFill/>
        </p:spPr>
      </p:pic>
      <p:sp>
        <p:nvSpPr>
          <p:cNvPr id="21523" name="txtfooterCopy"/>
          <p:cNvSpPr txBox="1">
            <a:spLocks noChangeArrowheads="1"/>
          </p:cNvSpPr>
          <p:nvPr/>
        </p:nvSpPr>
        <p:spPr bwMode="auto">
          <a:xfrm>
            <a:off x="527050" y="6524625"/>
            <a:ext cx="9865783" cy="2159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72000" rIns="72000"/>
          <a:lstStyle/>
          <a:p>
            <a:pPr algn="l"/>
            <a:r>
              <a:rPr lang="fr-FR" sz="800" b="0" i="0" u="none">
                <a:solidFill>
                  <a:srgbClr val="1A1816"/>
                </a:solidFill>
              </a:rPr>
              <a:t>2018-11-12  |  Massive IoT Infrastructure  |  Page </a:t>
            </a:r>
            <a:fld id="{5924DDB9-8112-4E49-B2AA-8F9FE19C4ECB}" type="slidenum">
              <a:rPr lang="fr-FR" sz="800" b="0" i="0" u="none" smtClean="0">
                <a:solidFill>
                  <a:srgbClr val="1A1816"/>
                </a:solidFill>
              </a:rPr>
              <a:t>‹#›</a:t>
            </a:fld>
            <a:r>
              <a:rPr lang="fr-FR" sz="800" b="0" i="0" u="none">
                <a:solidFill>
                  <a:srgbClr val="1A1816"/>
                </a:solidFill>
              </a:rPr>
              <a:t> (13)</a:t>
            </a:r>
            <a:endParaRPr lang="en-US" sz="800" b="0" i="0" u="none" dirty="0">
              <a:solidFill>
                <a:srgbClr val="1A1816"/>
              </a:solidFill>
            </a:endParaRPr>
          </a:p>
        </p:txBody>
      </p:sp>
      <p:sp>
        <p:nvSpPr>
          <p:cNvPr id="21507" name="Content_SM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9168" y="1800000"/>
            <a:ext cx="11135785" cy="38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524935" y="239714"/>
            <a:ext cx="9992784" cy="10853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/>
              <a:t>Click to Add Header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700" r:id="rId3"/>
    <p:sldLayoutId id="2147483681" r:id="rId4"/>
    <p:sldLayoutId id="2147483680" r:id="rId5"/>
    <p:sldLayoutId id="2147483699" r:id="rId6"/>
    <p:sldLayoutId id="2147483696" r:id="rId7"/>
    <p:sldLayoutId id="2147483698" r:id="rId8"/>
    <p:sldLayoutId id="2147483697" r:id="rId9"/>
    <p:sldLayoutId id="2147483685" r:id="rId10"/>
    <p:sldLayoutId id="2147483686" r:id="rId11"/>
    <p:sldLayoutId id="2147483687" r:id="rId12"/>
    <p:sldLayoutId id="2147483682" r:id="rId13"/>
    <p:sldLayoutId id="2147483683" r:id="rId14"/>
    <p:sldLayoutId id="2147483684" r:id="rId15"/>
    <p:sldLayoutId id="2147483688" r:id="rId16"/>
    <p:sldLayoutId id="2147483695" r:id="rId17"/>
  </p:sldLayoutIdLst>
  <p:hf sldNum="0" hdr="0" ftr="0" dt="0"/>
  <p:txStyles>
    <p:titleStyle>
      <a:lvl1pPr algn="l" rtl="0" eaLnBrk="1" fontAlgn="base" hangingPunct="1">
        <a:lnSpc>
          <a:spcPct val="75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Ericsson Capital T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Capital TT" pitchFamily="2" charset="0"/>
        </a:defRPr>
      </a:lvl9pPr>
    </p:titleStyle>
    <p:bodyStyle>
      <a:lvl1pPr marL="176213" indent="-176213" algn="l" rtl="0" eaLnBrk="1" fontAlgn="base" hangingPunct="1">
        <a:spcBef>
          <a:spcPct val="20000"/>
        </a:spcBef>
        <a:spcAft>
          <a:spcPct val="0"/>
        </a:spcAft>
        <a:buClr>
          <a:srgbClr val="00A9D4"/>
        </a:buClr>
        <a:buFont typeface="Arial" charset="0"/>
        <a:buChar char="›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–"/>
        <a:defRPr sz="2000">
          <a:solidFill>
            <a:schemeClr val="tx1"/>
          </a:solidFill>
          <a:latin typeface="+mn-lt"/>
        </a:defRPr>
      </a:lvl2pPr>
      <a:lvl3pPr marL="892175" indent="-179388" algn="l" rtl="0" eaLnBrk="1" fontAlgn="base" hangingPunct="1">
        <a:spcBef>
          <a:spcPct val="20000"/>
        </a:spcBef>
        <a:spcAft>
          <a:spcPct val="0"/>
        </a:spcAft>
        <a:buClr>
          <a:srgbClr val="92CCE5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3pPr>
      <a:lvl4pPr marL="125253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-"/>
        <a:defRPr sz="2000">
          <a:solidFill>
            <a:schemeClr val="tx1"/>
          </a:solidFill>
          <a:latin typeface="+mn-lt"/>
        </a:defRPr>
      </a:lvl4pPr>
      <a:lvl5pPr marL="16144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5pPr>
      <a:lvl6pPr marL="20716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6pPr>
      <a:lvl7pPr marL="25288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7pPr>
      <a:lvl8pPr marL="29860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8pPr>
      <a:lvl9pPr marL="3443288" indent="-180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Ericsson Capital TT" pitchFamily="2" charset="0"/>
        <a:buChar char="›"/>
        <a:defRPr sz="20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1.xml"/><Relationship Id="rId7" Type="http://schemas.openxmlformats.org/officeDocument/2006/relationships/image" Target="../media/image20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apcentia.com/en/product/platform.htm" TargetMode="External"/><Relationship Id="rId3" Type="http://schemas.openxmlformats.org/officeDocument/2006/relationships/image" Target="../media/image8.jp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pngall.com/cloud-server-png#respond" TargetMode="External"/><Relationship Id="rId11" Type="http://schemas.openxmlformats.org/officeDocument/2006/relationships/hyperlink" Target="http://technofaq.org/posts/2016/06/5-best-free-mobile-app-makers/" TargetMode="External"/><Relationship Id="rId5" Type="http://schemas.openxmlformats.org/officeDocument/2006/relationships/image" Target="../media/image10.png"/><Relationship Id="rId10" Type="http://schemas.openxmlformats.org/officeDocument/2006/relationships/image" Target="../media/image13.png"/><Relationship Id="rId4" Type="http://schemas.openxmlformats.org/officeDocument/2006/relationships/image" Target="../media/image9.png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slideLayout" Target="../slideLayouts/slideLayout1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image" Target="../media/image6.emf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image" Target="../media/image18.pn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 anchor="b"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Massive IoT </a:t>
            </a:r>
            <a:r>
              <a:rPr lang="en-US" sz="5400" dirty="0" err="1">
                <a:solidFill>
                  <a:schemeClr val="bg1"/>
                </a:solidFill>
              </a:rPr>
              <a:t>infrastrukt</a:t>
            </a:r>
            <a:r>
              <a:rPr lang="hu-HU" sz="5400" dirty="0">
                <a:solidFill>
                  <a:schemeClr val="bg1"/>
                </a:solidFill>
              </a:rPr>
              <a:t>ú</a:t>
            </a:r>
            <a:r>
              <a:rPr lang="en-US" sz="5400" dirty="0" err="1">
                <a:solidFill>
                  <a:schemeClr val="bg1"/>
                </a:solidFill>
              </a:rPr>
              <a:t>ra</a:t>
            </a:r>
            <a:br>
              <a:rPr lang="en-US" dirty="0">
                <a:solidFill>
                  <a:schemeClr val="bg1"/>
                </a:solidFill>
              </a:rPr>
            </a:br>
            <a:endParaRPr lang="en-US" sz="4000" dirty="0">
              <a:solidFill>
                <a:schemeClr val="bg1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2018 November</a:t>
            </a:r>
          </a:p>
        </p:txBody>
      </p:sp>
      <p:pic>
        <p:nvPicPr>
          <p:cNvPr id="3" name="Logo20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483" y="432000"/>
            <a:ext cx="1027112" cy="90271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3536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8B8D3B0-9FBB-46D8-A67B-E70167BB26BB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37000">
                <a:schemeClr val="tx2"/>
              </a:gs>
              <a:gs pos="0">
                <a:srgbClr val="000048"/>
              </a:gs>
              <a:gs pos="74000">
                <a:schemeClr val="tx2"/>
              </a:gs>
              <a:gs pos="83000">
                <a:srgbClr val="000066"/>
              </a:gs>
              <a:gs pos="100000">
                <a:srgbClr val="000048"/>
              </a:gs>
            </a:gsLst>
            <a:lin ang="5400000" scaled="1"/>
          </a:gra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30722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1" y="0"/>
          <a:ext cx="11906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072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1" y="0"/>
                        <a:ext cx="119063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7825795" y="1312964"/>
            <a:ext cx="4062048" cy="5225487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IoT </a:t>
            </a:r>
            <a:r>
              <a:rPr lang="hu-HU" sz="1800" dirty="0">
                <a:solidFill>
                  <a:schemeClr val="bg1"/>
                </a:solidFill>
              </a:rPr>
              <a:t>Biztonsági és Hitelesítési Eljárások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 err="1">
                <a:solidFill>
                  <a:schemeClr val="accent5"/>
                </a:solidFill>
              </a:rPr>
              <a:t>Cellul</a:t>
            </a:r>
            <a:r>
              <a:rPr lang="hu-HU" sz="1400" dirty="0">
                <a:solidFill>
                  <a:schemeClr val="accent5"/>
                </a:solidFill>
              </a:rPr>
              <a:t>á</a:t>
            </a:r>
            <a:r>
              <a:rPr lang="en-US" sz="1400" dirty="0">
                <a:solidFill>
                  <a:schemeClr val="accent5"/>
                </a:solidFill>
              </a:rPr>
              <a:t>r</a:t>
            </a:r>
            <a:r>
              <a:rPr lang="hu-HU" sz="1400" dirty="0">
                <a:solidFill>
                  <a:schemeClr val="accent5"/>
                </a:solidFill>
              </a:rPr>
              <a:t>is</a:t>
            </a:r>
            <a:r>
              <a:rPr lang="en-US" sz="1400" dirty="0">
                <a:solidFill>
                  <a:schemeClr val="accent5"/>
                </a:solidFill>
              </a:rPr>
              <a:t> &amp; IoT </a:t>
            </a:r>
            <a:r>
              <a:rPr lang="hu-HU" sz="1400" dirty="0">
                <a:solidFill>
                  <a:schemeClr val="accent5"/>
                </a:solidFill>
              </a:rPr>
              <a:t>Alkalmazás szintű</a:t>
            </a:r>
            <a:r>
              <a:rPr lang="en-US" sz="1400" dirty="0">
                <a:solidFill>
                  <a:schemeClr val="accent5"/>
                </a:solidFill>
              </a:rPr>
              <a:t> </a:t>
            </a:r>
            <a:r>
              <a:rPr lang="hu-HU" sz="1400" dirty="0">
                <a:solidFill>
                  <a:schemeClr val="accent5"/>
                </a:solidFill>
              </a:rPr>
              <a:t>hitelesítő</a:t>
            </a:r>
            <a:r>
              <a:rPr lang="en-US" sz="1400" dirty="0">
                <a:solidFill>
                  <a:schemeClr val="accent5"/>
                </a:solidFill>
              </a:rPr>
              <a:t> </a:t>
            </a:r>
            <a:r>
              <a:rPr lang="hu-HU" sz="1400" dirty="0">
                <a:solidFill>
                  <a:schemeClr val="accent5"/>
                </a:solidFill>
              </a:rPr>
              <a:t>szerverek, kulcsok és tanúsítványok </a:t>
            </a:r>
            <a:endParaRPr lang="en-US" sz="1400" dirty="0">
              <a:solidFill>
                <a:schemeClr val="accent5"/>
              </a:solidFill>
            </a:endParaRP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Hozzáférési Protokollok az </a:t>
            </a:r>
            <a:r>
              <a:rPr lang="en-US" sz="1800" dirty="0">
                <a:solidFill>
                  <a:schemeClr val="bg1"/>
                </a:solidFill>
              </a:rPr>
              <a:t>IoT </a:t>
            </a:r>
            <a:r>
              <a:rPr lang="hu-HU" sz="1800" dirty="0">
                <a:solidFill>
                  <a:schemeClr val="bg1"/>
                </a:solidFill>
              </a:rPr>
              <a:t>Hálózati Szolgáltatásokhoz</a:t>
            </a:r>
            <a:br>
              <a:rPr lang="hu-HU" sz="1800" dirty="0">
                <a:solidFill>
                  <a:schemeClr val="bg1"/>
                </a:solidFill>
              </a:rPr>
            </a:br>
            <a:r>
              <a:rPr lang="hu-HU" sz="1800" dirty="0">
                <a:solidFill>
                  <a:schemeClr val="bg1"/>
                </a:solidFill>
              </a:rPr>
              <a:t>(IoT Exposure)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Non-IP </a:t>
            </a:r>
            <a:r>
              <a:rPr lang="hu-HU" sz="1400" dirty="0">
                <a:solidFill>
                  <a:schemeClr val="accent5"/>
                </a:solidFill>
              </a:rPr>
              <a:t>Adat Kézbesítés az</a:t>
            </a:r>
            <a:r>
              <a:rPr lang="en-US" sz="1400" dirty="0">
                <a:solidFill>
                  <a:schemeClr val="accent5"/>
                </a:solidFill>
              </a:rPr>
              <a:t> SCEF</a:t>
            </a:r>
            <a:r>
              <a:rPr lang="hu-HU" sz="1400" dirty="0">
                <a:solidFill>
                  <a:schemeClr val="accent5"/>
                </a:solidFill>
              </a:rPr>
              <a:t> által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HLCom az</a:t>
            </a:r>
            <a:r>
              <a:rPr lang="en-US" sz="1400" dirty="0">
                <a:solidFill>
                  <a:schemeClr val="accent5"/>
                </a:solidFill>
              </a:rPr>
              <a:t> SCEF</a:t>
            </a:r>
            <a:r>
              <a:rPr lang="hu-HU" sz="1400" dirty="0">
                <a:solidFill>
                  <a:schemeClr val="accent5"/>
                </a:solidFill>
              </a:rPr>
              <a:t>-en keresztül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Kiterjesztett </a:t>
            </a:r>
            <a:r>
              <a:rPr lang="en-US" sz="1400" dirty="0">
                <a:solidFill>
                  <a:schemeClr val="accent5"/>
                </a:solidFill>
              </a:rPr>
              <a:t>Monitoring (MONTE)</a:t>
            </a: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Garantált</a:t>
            </a:r>
            <a:r>
              <a:rPr lang="en-US" sz="1400" dirty="0">
                <a:solidFill>
                  <a:schemeClr val="accent5"/>
                </a:solidFill>
              </a:rPr>
              <a:t> QoS</a:t>
            </a:r>
            <a:r>
              <a:rPr lang="hu-HU" sz="1400" dirty="0">
                <a:solidFill>
                  <a:schemeClr val="accent5"/>
                </a:solidFill>
              </a:rPr>
              <a:t> a kommunikációhoz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Eszköz Triggerelés az </a:t>
            </a:r>
            <a:r>
              <a:rPr lang="en-US" sz="1400" dirty="0">
                <a:solidFill>
                  <a:schemeClr val="accent5"/>
                </a:solidFill>
              </a:rPr>
              <a:t>SCEF</a:t>
            </a:r>
            <a:r>
              <a:rPr lang="hu-HU" sz="1400" dirty="0">
                <a:solidFill>
                  <a:schemeClr val="accent5"/>
                </a:solidFill>
              </a:rPr>
              <a:t> által</a:t>
            </a:r>
            <a:endParaRPr lang="en-US" sz="1400" dirty="0">
              <a:solidFill>
                <a:schemeClr val="accent5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IoT Platform </a:t>
            </a:r>
            <a:r>
              <a:rPr lang="hu-HU" sz="1800" dirty="0">
                <a:solidFill>
                  <a:schemeClr val="bg1"/>
                </a:solidFill>
              </a:rPr>
              <a:t>Szolgáltatások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Start-up </a:t>
            </a:r>
            <a:r>
              <a:rPr lang="hu-HU" sz="1400" dirty="0">
                <a:solidFill>
                  <a:schemeClr val="accent5"/>
                </a:solidFill>
              </a:rPr>
              <a:t>csomag</a:t>
            </a:r>
            <a:r>
              <a:rPr lang="en-US" sz="1400" dirty="0">
                <a:solidFill>
                  <a:schemeClr val="accent5"/>
                </a:solidFill>
              </a:rPr>
              <a:t> IoT Port</a:t>
            </a:r>
            <a:r>
              <a:rPr lang="hu-HU" sz="1400" dirty="0">
                <a:solidFill>
                  <a:schemeClr val="accent5"/>
                </a:solidFill>
              </a:rPr>
              <a:t>állal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IoT Market Place</a:t>
            </a: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Eszköz-</a:t>
            </a:r>
            <a:r>
              <a:rPr lang="en-US" sz="1400" dirty="0">
                <a:solidFill>
                  <a:schemeClr val="accent5"/>
                </a:solidFill>
              </a:rPr>
              <a:t> &amp; </a:t>
            </a:r>
            <a:r>
              <a:rPr lang="hu-HU" sz="1400" dirty="0">
                <a:solidFill>
                  <a:schemeClr val="accent5"/>
                </a:solidFill>
              </a:rPr>
              <a:t>Adatme</a:t>
            </a:r>
            <a:r>
              <a:rPr lang="en-US" sz="1400" dirty="0">
                <a:solidFill>
                  <a:schemeClr val="accent5"/>
                </a:solidFill>
              </a:rPr>
              <a:t>n</a:t>
            </a:r>
            <a:r>
              <a:rPr lang="hu-HU" sz="1400" dirty="0">
                <a:solidFill>
                  <a:schemeClr val="accent5"/>
                </a:solidFill>
              </a:rPr>
              <a:t>edzs</a:t>
            </a:r>
            <a:r>
              <a:rPr lang="en-US" sz="1400" dirty="0" err="1">
                <a:solidFill>
                  <a:schemeClr val="accent5"/>
                </a:solidFill>
              </a:rPr>
              <a:t>ment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Adatkapcsolat (c</a:t>
            </a:r>
            <a:r>
              <a:rPr lang="en-US" sz="1400" dirty="0" err="1">
                <a:solidFill>
                  <a:schemeClr val="accent5"/>
                </a:solidFill>
              </a:rPr>
              <a:t>onnectivity</a:t>
            </a:r>
            <a:r>
              <a:rPr lang="hu-HU" sz="1400" dirty="0">
                <a:solidFill>
                  <a:schemeClr val="accent5"/>
                </a:solidFill>
              </a:rPr>
              <a:t>)</a:t>
            </a:r>
            <a:r>
              <a:rPr lang="en-US" sz="1400" dirty="0">
                <a:solidFill>
                  <a:schemeClr val="accent5"/>
                </a:solidFill>
              </a:rPr>
              <a:t> </a:t>
            </a:r>
            <a:r>
              <a:rPr lang="hu-HU" sz="1400" dirty="0">
                <a:solidFill>
                  <a:schemeClr val="accent5"/>
                </a:solidFill>
              </a:rPr>
              <a:t>me</a:t>
            </a:r>
            <a:r>
              <a:rPr lang="en-US" sz="1400" dirty="0">
                <a:solidFill>
                  <a:schemeClr val="accent5"/>
                </a:solidFill>
              </a:rPr>
              <a:t>n</a:t>
            </a:r>
            <a:r>
              <a:rPr lang="hu-HU" sz="1400" dirty="0">
                <a:solidFill>
                  <a:schemeClr val="accent5"/>
                </a:solidFill>
              </a:rPr>
              <a:t>edzs</a:t>
            </a:r>
            <a:r>
              <a:rPr lang="en-US" sz="1400" dirty="0" err="1">
                <a:solidFill>
                  <a:schemeClr val="accent5"/>
                </a:solidFill>
              </a:rPr>
              <a:t>ment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IoT GW</a:t>
            </a:r>
            <a:r>
              <a:rPr lang="hu-HU" sz="1400" dirty="0">
                <a:solidFill>
                  <a:schemeClr val="accent5"/>
                </a:solidFill>
              </a:rPr>
              <a:t>-ek</a:t>
            </a:r>
            <a:r>
              <a:rPr lang="en-US" sz="1400" dirty="0">
                <a:solidFill>
                  <a:schemeClr val="accent5"/>
                </a:solidFill>
              </a:rPr>
              <a:t> + </a:t>
            </a:r>
            <a:r>
              <a:rPr lang="hu-HU" sz="1400" dirty="0">
                <a:solidFill>
                  <a:schemeClr val="accent5"/>
                </a:solidFill>
              </a:rPr>
              <a:t>külső</a:t>
            </a:r>
            <a:r>
              <a:rPr lang="en-US" sz="1400" dirty="0">
                <a:solidFill>
                  <a:schemeClr val="accent5"/>
                </a:solidFill>
              </a:rPr>
              <a:t> REST API</a:t>
            </a:r>
            <a:r>
              <a:rPr lang="hu-HU" sz="1400" dirty="0">
                <a:solidFill>
                  <a:schemeClr val="accent5"/>
                </a:solidFill>
              </a:rPr>
              <a:t>-k</a:t>
            </a:r>
            <a:endParaRPr lang="en-US" sz="1400" dirty="0">
              <a:solidFill>
                <a:schemeClr val="accent5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1"/>
          </p:nvPr>
        </p:nvSpPr>
        <p:spPr>
          <a:xfrm>
            <a:off x="3833259" y="1312965"/>
            <a:ext cx="4062049" cy="5225487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SMS </a:t>
            </a: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rgbClr val="BED682"/>
                </a:solidFill>
              </a:rPr>
              <a:t>Minden eszköz támogatja</a:t>
            </a:r>
            <a:endParaRPr lang="en-US" sz="1400" dirty="0">
              <a:solidFill>
                <a:srgbClr val="BED682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NB-IoT </a:t>
            </a:r>
            <a:r>
              <a:rPr lang="hu-HU" sz="1400" dirty="0">
                <a:solidFill>
                  <a:srgbClr val="BED682"/>
                </a:solidFill>
              </a:rPr>
              <a:t>eszközök: csak</a:t>
            </a:r>
            <a:r>
              <a:rPr lang="en-US" sz="1400" dirty="0">
                <a:solidFill>
                  <a:srgbClr val="BED682"/>
                </a:solidFill>
              </a:rPr>
              <a:t> EPS Attach</a:t>
            </a:r>
            <a:r>
              <a:rPr lang="hu-HU" sz="1400" dirty="0">
                <a:solidFill>
                  <a:srgbClr val="BED682"/>
                </a:solidFill>
              </a:rPr>
              <a:t> (PS)</a:t>
            </a:r>
            <a:endParaRPr lang="en-US" sz="1400" dirty="0">
              <a:solidFill>
                <a:srgbClr val="BED682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rgbClr val="BED682"/>
                </a:solidFill>
              </a:rPr>
              <a:t>Egyéb eszközök</a:t>
            </a:r>
            <a:r>
              <a:rPr lang="en-US" sz="1400" dirty="0">
                <a:solidFill>
                  <a:srgbClr val="BED682"/>
                </a:solidFill>
              </a:rPr>
              <a:t> (LTE, GSM)</a:t>
            </a:r>
            <a:r>
              <a:rPr lang="hu-HU" sz="1400" dirty="0">
                <a:solidFill>
                  <a:srgbClr val="BED682"/>
                </a:solidFill>
              </a:rPr>
              <a:t>:</a:t>
            </a:r>
            <a:r>
              <a:rPr lang="en-US" sz="1400" dirty="0">
                <a:solidFill>
                  <a:srgbClr val="BED682"/>
                </a:solidFill>
              </a:rPr>
              <a:t> Combined Attach</a:t>
            </a:r>
            <a:r>
              <a:rPr lang="hu-HU" sz="1400" dirty="0">
                <a:solidFill>
                  <a:srgbClr val="BED682"/>
                </a:solidFill>
              </a:rPr>
              <a:t> (CS+PS)</a:t>
            </a:r>
            <a:endParaRPr lang="en-US" sz="1400" dirty="0">
              <a:solidFill>
                <a:srgbClr val="BED682"/>
              </a:solidFill>
            </a:endParaRP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Dedikált Hálózat Szeletek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Dedicated Core Networks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NB-IoT RAN / LTE-M RAN / EC-GSM RAN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Core Network Selection</a:t>
            </a: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Kiterjesztett Rádiós Lefedettség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EC-GSM </a:t>
            </a:r>
            <a:r>
              <a:rPr lang="hu-HU" sz="1400" dirty="0">
                <a:solidFill>
                  <a:srgbClr val="BED682"/>
                </a:solidFill>
              </a:rPr>
              <a:t>eszközök: </a:t>
            </a:r>
            <a:r>
              <a:rPr lang="en-US" sz="1400" dirty="0">
                <a:solidFill>
                  <a:srgbClr val="BED682"/>
                </a:solidFill>
              </a:rPr>
              <a:t>DL </a:t>
            </a:r>
            <a:r>
              <a:rPr lang="hu-HU" sz="1400" dirty="0">
                <a:solidFill>
                  <a:srgbClr val="BED682"/>
                </a:solidFill>
              </a:rPr>
              <a:t>ismétlések</a:t>
            </a:r>
            <a:r>
              <a:rPr lang="en-US" sz="1400" dirty="0">
                <a:solidFill>
                  <a:srgbClr val="BED682"/>
                </a:solidFill>
              </a:rPr>
              <a:t>, </a:t>
            </a:r>
            <a:r>
              <a:rPr lang="hu-HU" sz="1400" dirty="0">
                <a:solidFill>
                  <a:srgbClr val="BED682"/>
                </a:solidFill>
              </a:rPr>
              <a:t>hosszabb időzítők</a:t>
            </a:r>
            <a:endParaRPr lang="en-US" sz="1400" dirty="0">
              <a:solidFill>
                <a:srgbClr val="BED682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CAT-M </a:t>
            </a:r>
            <a:r>
              <a:rPr lang="hu-HU" sz="1400" dirty="0">
                <a:solidFill>
                  <a:srgbClr val="BED682"/>
                </a:solidFill>
              </a:rPr>
              <a:t>eszközök </a:t>
            </a:r>
            <a:r>
              <a:rPr lang="en-US" sz="1400" dirty="0">
                <a:solidFill>
                  <a:srgbClr val="BED682"/>
                </a:solidFill>
              </a:rPr>
              <a:t>CE Mode-A</a:t>
            </a:r>
            <a:r>
              <a:rPr lang="hu-HU" sz="1400" dirty="0">
                <a:solidFill>
                  <a:srgbClr val="BED682"/>
                </a:solidFill>
              </a:rPr>
              <a:t>-ban:</a:t>
            </a:r>
            <a:br>
              <a:rPr lang="en-US" sz="1400" dirty="0">
                <a:solidFill>
                  <a:srgbClr val="BED682"/>
                </a:solidFill>
              </a:rPr>
            </a:br>
            <a:r>
              <a:rPr lang="hu-HU" sz="1400" dirty="0">
                <a:solidFill>
                  <a:srgbClr val="BED682"/>
                </a:solidFill>
              </a:rPr>
              <a:t>emelt jelszint</a:t>
            </a:r>
            <a:r>
              <a:rPr lang="en-US" sz="1400" dirty="0">
                <a:solidFill>
                  <a:srgbClr val="BED682"/>
                </a:solidFill>
              </a:rPr>
              <a:t>, </a:t>
            </a:r>
            <a:r>
              <a:rPr lang="hu-HU" sz="1400" dirty="0">
                <a:solidFill>
                  <a:srgbClr val="BED682"/>
                </a:solidFill>
              </a:rPr>
              <a:t>hosszabb időzítők</a:t>
            </a:r>
            <a:endParaRPr lang="en-US" sz="1400" dirty="0">
              <a:solidFill>
                <a:srgbClr val="BED682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NB-IoT </a:t>
            </a:r>
            <a:r>
              <a:rPr lang="hu-HU" sz="1400" dirty="0">
                <a:solidFill>
                  <a:srgbClr val="BED682"/>
                </a:solidFill>
              </a:rPr>
              <a:t>eszközök: több </a:t>
            </a:r>
            <a:r>
              <a:rPr lang="en-US" sz="1400" dirty="0">
                <a:solidFill>
                  <a:srgbClr val="BED682"/>
                </a:solidFill>
              </a:rPr>
              <a:t>CE </a:t>
            </a:r>
            <a:r>
              <a:rPr lang="hu-HU" sz="1400" dirty="0">
                <a:solidFill>
                  <a:srgbClr val="BED682"/>
                </a:solidFill>
              </a:rPr>
              <a:t>szint,</a:t>
            </a:r>
            <a:r>
              <a:rPr lang="en-US" sz="1400" dirty="0">
                <a:solidFill>
                  <a:srgbClr val="BED682"/>
                </a:solidFill>
              </a:rPr>
              <a:t> </a:t>
            </a:r>
            <a:r>
              <a:rPr lang="hu-HU" sz="1400" dirty="0">
                <a:solidFill>
                  <a:srgbClr val="BED682"/>
                </a:solidFill>
              </a:rPr>
              <a:t>emelt jelszint</a:t>
            </a:r>
            <a:r>
              <a:rPr lang="en-US" sz="1400" dirty="0">
                <a:solidFill>
                  <a:srgbClr val="BED682"/>
                </a:solidFill>
              </a:rPr>
              <a:t>, DL </a:t>
            </a:r>
            <a:r>
              <a:rPr lang="hu-HU" sz="1400" dirty="0">
                <a:solidFill>
                  <a:srgbClr val="BED682"/>
                </a:solidFill>
              </a:rPr>
              <a:t>ismétlések</a:t>
            </a:r>
            <a:r>
              <a:rPr lang="en-US" sz="1400" dirty="0">
                <a:solidFill>
                  <a:srgbClr val="BED682"/>
                </a:solidFill>
              </a:rPr>
              <a:t>, </a:t>
            </a:r>
            <a:r>
              <a:rPr lang="hu-HU" sz="1400" dirty="0">
                <a:solidFill>
                  <a:srgbClr val="BED682"/>
                </a:solidFill>
              </a:rPr>
              <a:t>hosszabb időzítők</a:t>
            </a:r>
            <a:endParaRPr lang="en-US" sz="1400" dirty="0">
              <a:solidFill>
                <a:srgbClr val="BED682"/>
              </a:solidFill>
            </a:endParaRP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IoT specifikus beleptetési és forgalom vezérlési szabályok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chemeClr val="accent5"/>
                </a:solidFill>
              </a:rPr>
              <a:t>Új adatcsatorna osztályok (bearer) </a:t>
            </a:r>
            <a:br>
              <a:rPr lang="hu-HU" sz="1400" dirty="0">
                <a:solidFill>
                  <a:schemeClr val="accent5"/>
                </a:solidFill>
              </a:rPr>
            </a:br>
            <a:r>
              <a:rPr lang="hu-HU" sz="1400" dirty="0">
                <a:solidFill>
                  <a:schemeClr val="accent5"/>
                </a:solidFill>
              </a:rPr>
              <a:t>IoT specifikus QoS-sel</a:t>
            </a:r>
            <a:endParaRPr lang="en-US" sz="1400" dirty="0">
              <a:solidFill>
                <a:schemeClr val="accent5"/>
              </a:solidFill>
            </a:endParaRPr>
          </a:p>
          <a:p>
            <a:pPr marL="355600" lvl="1" indent="0">
              <a:buClr>
                <a:schemeClr val="bg1"/>
              </a:buClr>
              <a:buNone/>
            </a:pPr>
            <a:r>
              <a:rPr lang="en-US" sz="1400" dirty="0">
                <a:solidFill>
                  <a:srgbClr val="BED682"/>
                </a:solidFill>
              </a:rPr>
              <a:t>	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98791" y="1312965"/>
            <a:ext cx="3673440" cy="5118509"/>
          </a:xfrm>
        </p:spPr>
        <p:txBody>
          <a:bodyPr/>
          <a:lstStyle/>
          <a:p>
            <a:pPr>
              <a:buClr>
                <a:schemeClr val="bg1"/>
              </a:buClr>
            </a:pPr>
            <a:r>
              <a:rPr lang="en-US" sz="1800" dirty="0" err="1">
                <a:solidFill>
                  <a:schemeClr val="bg1"/>
                </a:solidFill>
              </a:rPr>
              <a:t>MIo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hu-HU" sz="1800" dirty="0">
                <a:solidFill>
                  <a:schemeClr val="bg1"/>
                </a:solidFill>
              </a:rPr>
              <a:t>Eszközök Adatcstornái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IP/NAS </a:t>
            </a:r>
            <a:r>
              <a:rPr lang="en-US" sz="1400" dirty="0" err="1">
                <a:solidFill>
                  <a:schemeClr val="accent5"/>
                </a:solidFill>
              </a:rPr>
              <a:t>csomagok</a:t>
            </a:r>
            <a:r>
              <a:rPr lang="en-US" sz="1400" dirty="0">
                <a:solidFill>
                  <a:schemeClr val="accent5"/>
                </a:solidFill>
              </a:rPr>
              <a:t> </a:t>
            </a:r>
            <a:r>
              <a:rPr lang="hu-HU" sz="1400" dirty="0">
                <a:solidFill>
                  <a:schemeClr val="accent5"/>
                </a:solidFill>
              </a:rPr>
              <a:t>k</a:t>
            </a:r>
            <a:r>
              <a:rPr lang="en-US" sz="1400" dirty="0" err="1">
                <a:solidFill>
                  <a:schemeClr val="accent5"/>
                </a:solidFill>
              </a:rPr>
              <a:t>ontrol</a:t>
            </a:r>
            <a:r>
              <a:rPr lang="en-US" sz="1400" dirty="0">
                <a:solidFill>
                  <a:schemeClr val="accent5"/>
                </a:solidFill>
              </a:rPr>
              <a:t>/</a:t>
            </a:r>
            <a:r>
              <a:rPr lang="en-US" sz="1400" dirty="0" err="1">
                <a:solidFill>
                  <a:schemeClr val="accent5"/>
                </a:solidFill>
              </a:rPr>
              <a:t>adat</a:t>
            </a:r>
            <a:r>
              <a:rPr lang="en-US" sz="1400" dirty="0">
                <a:solidFill>
                  <a:schemeClr val="accent5"/>
                </a:solidFill>
              </a:rPr>
              <a:t> s</a:t>
            </a:r>
            <a:r>
              <a:rPr lang="hu-HU" sz="1400" dirty="0">
                <a:solidFill>
                  <a:schemeClr val="accent5"/>
                </a:solidFill>
              </a:rPr>
              <a:t>í</a:t>
            </a:r>
            <a:r>
              <a:rPr lang="en-US" sz="1400" dirty="0" err="1">
                <a:solidFill>
                  <a:schemeClr val="accent5"/>
                </a:solidFill>
              </a:rPr>
              <a:t>kban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Energiatakarékos Üzemmód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Power Saving Mode</a:t>
            </a:r>
            <a:r>
              <a:rPr lang="hu-HU" sz="1400" dirty="0">
                <a:solidFill>
                  <a:srgbClr val="BED682"/>
                </a:solidFill>
              </a:rPr>
              <a:t> (PSM)</a:t>
            </a:r>
            <a:r>
              <a:rPr lang="en-US" sz="1400" dirty="0">
                <a:solidFill>
                  <a:srgbClr val="BED682"/>
                </a:solidFill>
              </a:rPr>
              <a:t> 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Extended DRX</a:t>
            </a: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SGW</a:t>
            </a:r>
            <a:r>
              <a:rPr lang="hu-HU" sz="1400" dirty="0">
                <a:solidFill>
                  <a:srgbClr val="BED682"/>
                </a:solidFill>
              </a:rPr>
              <a:t>:</a:t>
            </a:r>
            <a:r>
              <a:rPr lang="en-US" sz="1400" dirty="0">
                <a:solidFill>
                  <a:srgbClr val="BED682"/>
                </a:solidFill>
              </a:rPr>
              <a:t> </a:t>
            </a:r>
            <a:r>
              <a:rPr lang="hu-HU" sz="1400" dirty="0">
                <a:solidFill>
                  <a:srgbClr val="BED682"/>
                </a:solidFill>
              </a:rPr>
              <a:t>MT adatok pufferelése</a:t>
            </a:r>
            <a:endParaRPr lang="en-US" sz="1400" dirty="0">
              <a:solidFill>
                <a:srgbClr val="BED682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HLCom</a:t>
            </a:r>
            <a:r>
              <a:rPr lang="hu-HU" sz="1400" dirty="0">
                <a:solidFill>
                  <a:srgbClr val="BED682"/>
                </a:solidFill>
              </a:rPr>
              <a:t>: nagy késleltetésű komm.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sz="1800" dirty="0">
                <a:solidFill>
                  <a:schemeClr val="bg1"/>
                </a:solidFill>
              </a:rPr>
              <a:t>S</a:t>
            </a:r>
            <a:r>
              <a:rPr lang="hu-HU" sz="1800" dirty="0">
                <a:solidFill>
                  <a:schemeClr val="bg1"/>
                </a:solidFill>
              </a:rPr>
              <a:t>z</a:t>
            </a:r>
            <a:r>
              <a:rPr lang="en-US" sz="1800" dirty="0" err="1">
                <a:solidFill>
                  <a:schemeClr val="bg1"/>
                </a:solidFill>
              </a:rPr>
              <a:t>ignaling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dirty="0" err="1">
                <a:solidFill>
                  <a:schemeClr val="bg1"/>
                </a:solidFill>
              </a:rPr>
              <a:t>optimi</a:t>
            </a:r>
            <a:r>
              <a:rPr lang="hu-HU" sz="1800" dirty="0">
                <a:solidFill>
                  <a:schemeClr val="bg1"/>
                </a:solidFill>
              </a:rPr>
              <a:t>malizálások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rgbClr val="BED682"/>
                </a:solidFill>
              </a:rPr>
              <a:t>Kontrol sík optimalizáció</a:t>
            </a:r>
            <a:r>
              <a:rPr lang="en-US" sz="1400" dirty="0">
                <a:solidFill>
                  <a:srgbClr val="BED682"/>
                </a:solidFill>
              </a:rPr>
              <a:t> (DoNAS)</a:t>
            </a:r>
          </a:p>
          <a:p>
            <a:pPr lvl="1">
              <a:buClr>
                <a:schemeClr val="bg1"/>
              </a:buClr>
            </a:pPr>
            <a:r>
              <a:rPr lang="hu-HU" sz="1400" dirty="0">
                <a:solidFill>
                  <a:srgbClr val="BED682"/>
                </a:solidFill>
              </a:rPr>
              <a:t>Adat sík optimalizáció</a:t>
            </a:r>
            <a:r>
              <a:rPr lang="en-US" sz="1400" dirty="0">
                <a:solidFill>
                  <a:srgbClr val="BED682"/>
                </a:solidFill>
              </a:rPr>
              <a:t> </a:t>
            </a:r>
            <a:br>
              <a:rPr lang="en-US" sz="1400" dirty="0">
                <a:solidFill>
                  <a:srgbClr val="BED682"/>
                </a:solidFill>
              </a:rPr>
            </a:br>
            <a:r>
              <a:rPr lang="en-US" sz="1400" dirty="0">
                <a:solidFill>
                  <a:srgbClr val="BED682"/>
                </a:solidFill>
              </a:rPr>
              <a:t>(RRC suspend/resume)</a:t>
            </a: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Megnövelt </a:t>
            </a:r>
            <a:r>
              <a:rPr lang="en-US" sz="1800" dirty="0">
                <a:solidFill>
                  <a:schemeClr val="bg1"/>
                </a:solidFill>
              </a:rPr>
              <a:t>Paging</a:t>
            </a:r>
            <a:r>
              <a:rPr lang="hu-HU" sz="1800" dirty="0">
                <a:solidFill>
                  <a:schemeClr val="bg1"/>
                </a:solidFill>
              </a:rPr>
              <a:t> Jelszint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rgbClr val="BED682"/>
                </a:solidFill>
              </a:rPr>
              <a:t>eDRX </a:t>
            </a:r>
            <a:r>
              <a:rPr lang="hu-HU" sz="1400" dirty="0">
                <a:solidFill>
                  <a:srgbClr val="BED682"/>
                </a:solidFill>
              </a:rPr>
              <a:t>Paging </a:t>
            </a:r>
            <a:r>
              <a:rPr lang="en-US" sz="1400" dirty="0">
                <a:solidFill>
                  <a:srgbClr val="BED682"/>
                </a:solidFill>
              </a:rPr>
              <a:t>(</a:t>
            </a:r>
            <a:r>
              <a:rPr lang="hu-HU" sz="1400" dirty="0">
                <a:solidFill>
                  <a:srgbClr val="BED682"/>
                </a:solidFill>
              </a:rPr>
              <a:t>jelszint növelés</a:t>
            </a:r>
            <a:r>
              <a:rPr lang="en-US" sz="1400" dirty="0">
                <a:solidFill>
                  <a:srgbClr val="BED682"/>
                </a:solidFill>
              </a:rPr>
              <a:t>) </a:t>
            </a:r>
          </a:p>
          <a:p>
            <a:pPr>
              <a:buClr>
                <a:schemeClr val="bg1"/>
              </a:buClr>
            </a:pPr>
            <a:r>
              <a:rPr lang="hu-HU" sz="1800" dirty="0">
                <a:solidFill>
                  <a:schemeClr val="bg1"/>
                </a:solidFill>
              </a:rPr>
              <a:t>Telefonszám helyett új azonosítók</a:t>
            </a:r>
            <a:endParaRPr lang="en-US" sz="1800" dirty="0">
              <a:solidFill>
                <a:schemeClr val="bg1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External ID</a:t>
            </a:r>
            <a:r>
              <a:rPr lang="hu-HU" sz="1400" dirty="0">
                <a:solidFill>
                  <a:schemeClr val="accent5"/>
                </a:solidFill>
              </a:rPr>
              <a:t>-k, ideiglenes ID-k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IMSI </a:t>
            </a:r>
            <a:r>
              <a:rPr lang="hu-HU" sz="1400" dirty="0">
                <a:solidFill>
                  <a:schemeClr val="accent5"/>
                </a:solidFill>
              </a:rPr>
              <a:t>alapú címzés</a:t>
            </a:r>
            <a:endParaRPr lang="en-US" sz="14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r>
              <a:rPr lang="en-US" sz="1400" dirty="0">
                <a:solidFill>
                  <a:schemeClr val="accent5"/>
                </a:solidFill>
              </a:rPr>
              <a:t>MSISDN</a:t>
            </a:r>
            <a:r>
              <a:rPr lang="hu-HU" sz="1400" dirty="0">
                <a:solidFill>
                  <a:schemeClr val="accent5"/>
                </a:solidFill>
              </a:rPr>
              <a:t> nélkül </a:t>
            </a:r>
            <a:r>
              <a:rPr lang="en-US" sz="1400" dirty="0">
                <a:solidFill>
                  <a:schemeClr val="accent5"/>
                </a:solidFill>
              </a:rPr>
              <a:t>/</a:t>
            </a:r>
            <a:r>
              <a:rPr lang="hu-HU" sz="1400" dirty="0">
                <a:solidFill>
                  <a:schemeClr val="accent5"/>
                </a:solidFill>
              </a:rPr>
              <a:t> közös</a:t>
            </a:r>
            <a:r>
              <a:rPr lang="en-US" sz="1400" dirty="0">
                <a:solidFill>
                  <a:schemeClr val="accent5"/>
                </a:solidFill>
              </a:rPr>
              <a:t> MSISDN</a:t>
            </a:r>
            <a:r>
              <a:rPr lang="hu-HU" sz="1400" dirty="0">
                <a:solidFill>
                  <a:schemeClr val="accent5"/>
                </a:solidFill>
              </a:rPr>
              <a:t>-nel</a:t>
            </a:r>
            <a:endParaRPr lang="en-US" sz="1800" dirty="0">
              <a:solidFill>
                <a:schemeClr val="accent5"/>
              </a:solidFill>
            </a:endParaRPr>
          </a:p>
          <a:p>
            <a:pPr lvl="1">
              <a:buClr>
                <a:schemeClr val="bg1"/>
              </a:buClr>
            </a:pPr>
            <a:endParaRPr lang="en-US" sz="1400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sz="3600" dirty="0">
                <a:solidFill>
                  <a:schemeClr val="bg1"/>
                </a:solidFill>
              </a:rPr>
              <a:t>Massive Iot hálózati Funkciók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9" name="Econ2011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60524" y="360365"/>
            <a:ext cx="435739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2279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0EAB77C-7210-4F11-888E-0FEF1C139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7400" y="1286993"/>
            <a:ext cx="7155955" cy="4876301"/>
          </a:xfrm>
        </p:spPr>
        <p:txBody>
          <a:bodyPr/>
          <a:lstStyle/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600" dirty="0"/>
              <a:t>A rádiós és IoT procedúrák inkonzisztens időzítései: jelenősen megnövelheti az energiafogyasztást IoT állapot frissítések</a:t>
            </a:r>
            <a:r>
              <a:rPr lang="en-US" sz="1600" dirty="0"/>
              <a:t>, RTT</a:t>
            </a:r>
            <a:r>
              <a:rPr lang="hu-HU" sz="1600" dirty="0"/>
              <a:t>, max. tranzakció hossza </a:t>
            </a:r>
            <a:r>
              <a:rPr lang="en-US" sz="1600" dirty="0">
                <a:sym typeface="Wingdings" panose="05000000000000000000" pitchFamily="2" charset="2"/>
              </a:rPr>
              <a:t>  </a:t>
            </a:r>
            <a:r>
              <a:rPr lang="hu-HU" sz="1600" dirty="0">
                <a:sym typeface="Wingdings" panose="05000000000000000000" pitchFamily="2" charset="2"/>
              </a:rPr>
              <a:t>felhasználói inaktivitás jelző</a:t>
            </a:r>
            <a:r>
              <a:rPr lang="en-US" sz="1600" dirty="0">
                <a:sym typeface="Wingdings" panose="05000000000000000000" pitchFamily="2" charset="2"/>
              </a:rPr>
              <a:t>, </a:t>
            </a:r>
            <a:r>
              <a:rPr lang="hu-HU" sz="1600" dirty="0">
                <a:sym typeface="Wingdings" panose="05000000000000000000" pitchFamily="2" charset="2"/>
              </a:rPr>
              <a:t>éber állapot hossza</a:t>
            </a:r>
            <a:r>
              <a:rPr lang="en-US" sz="1600" dirty="0">
                <a:sym typeface="Wingdings" panose="05000000000000000000" pitchFamily="2" charset="2"/>
              </a:rPr>
              <a:t>, </a:t>
            </a:r>
            <a:r>
              <a:rPr lang="hu-HU" sz="1600" dirty="0">
                <a:sym typeface="Wingdings" panose="05000000000000000000" pitchFamily="2" charset="2"/>
              </a:rPr>
              <a:t>pozíció frissítés periódusa (pTAU) </a:t>
            </a:r>
            <a:r>
              <a:rPr lang="en-US" sz="1600" dirty="0">
                <a:sym typeface="Wingdings" panose="05000000000000000000" pitchFamily="2" charset="2"/>
              </a:rPr>
              <a:t>  t</a:t>
            </a:r>
            <a:r>
              <a:rPr lang="hu-HU" sz="1600" dirty="0">
                <a:sym typeface="Wingdings" panose="05000000000000000000" pitchFamily="2" charset="2"/>
              </a:rPr>
              <a:t>űzfal állapot-táblák és időzítések</a:t>
            </a:r>
            <a:endParaRPr lang="en-US" sz="1600" dirty="0"/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600" dirty="0"/>
              <a:t>Tűzfalak</a:t>
            </a:r>
            <a:r>
              <a:rPr lang="en-US" sz="1600" dirty="0"/>
              <a:t>: </a:t>
            </a:r>
            <a:r>
              <a:rPr lang="hu-HU" sz="1600" dirty="0"/>
              <a:t>elérhetetlenné teszik az IoT eszközöket az alkalmazások számára</a:t>
            </a:r>
            <a:br>
              <a:rPr lang="hu-HU" sz="1600" dirty="0"/>
            </a:br>
            <a:r>
              <a:rPr lang="hu-HU" sz="1600" dirty="0"/>
              <a:t>Kapu időzítések </a:t>
            </a:r>
            <a:r>
              <a:rPr lang="en-US" sz="1600" dirty="0">
                <a:sym typeface="Wingdings" panose="05000000000000000000" pitchFamily="2" charset="2"/>
              </a:rPr>
              <a:t>  </a:t>
            </a:r>
            <a:r>
              <a:rPr lang="hu-HU" sz="1600" dirty="0">
                <a:sym typeface="Wingdings" panose="05000000000000000000" pitchFamily="2" charset="2"/>
              </a:rPr>
              <a:t>éber állapot hossza</a:t>
            </a:r>
            <a:r>
              <a:rPr lang="en-US" sz="1600" dirty="0">
                <a:sym typeface="Wingdings" panose="05000000000000000000" pitchFamily="2" charset="2"/>
              </a:rPr>
              <a:t>, </a:t>
            </a:r>
            <a:r>
              <a:rPr lang="hu-HU" sz="1600" dirty="0">
                <a:sym typeface="Wingdings" panose="05000000000000000000" pitchFamily="2" charset="2"/>
              </a:rPr>
              <a:t>IoT </a:t>
            </a:r>
            <a:r>
              <a:rPr lang="en-US" sz="1600" dirty="0">
                <a:sym typeface="Wingdings" panose="05000000000000000000" pitchFamily="2" charset="2"/>
              </a:rPr>
              <a:t>v</a:t>
            </a:r>
            <a:r>
              <a:rPr lang="hu-HU" sz="1600" dirty="0">
                <a:sym typeface="Wingdings" panose="05000000000000000000" pitchFamily="2" charset="2"/>
              </a:rPr>
              <a:t>álaszidők</a:t>
            </a:r>
            <a:endParaRPr lang="en-US" sz="1600" dirty="0"/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600" dirty="0"/>
              <a:t>MSISDN (telefonszám) nélküli IoT eszközök: címzés „külső” ID-vel és IMSI-vel</a:t>
            </a:r>
            <a:endParaRPr lang="en-US" sz="1600" dirty="0"/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sz="1600" dirty="0"/>
              <a:t>Power Saving Mode: </a:t>
            </a:r>
            <a:r>
              <a:rPr lang="hu-HU" sz="1600" dirty="0"/>
              <a:t>az IoT alkalmazás fejlesztőknek figyelembe kell venniük az eszközök alvó állapotát</a:t>
            </a:r>
            <a:endParaRPr lang="en-US" sz="1600" dirty="0"/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600" dirty="0"/>
              <a:t>Nem szabványos megoldások</a:t>
            </a:r>
            <a:r>
              <a:rPr lang="en-US" sz="1600" dirty="0"/>
              <a:t>: </a:t>
            </a:r>
            <a:r>
              <a:rPr lang="hu-HU" sz="1600" dirty="0"/>
              <a:t>nehéz őket adaptálni a generikus-szabványos architektúrába </a:t>
            </a:r>
            <a:r>
              <a:rPr lang="en-US" sz="1600" dirty="0"/>
              <a:t>(</a:t>
            </a:r>
            <a:r>
              <a:rPr lang="hu-HU" sz="1600" dirty="0"/>
              <a:t>extra illesztések az </a:t>
            </a:r>
            <a:r>
              <a:rPr lang="en-US" sz="1600" dirty="0"/>
              <a:t>IoT GW</a:t>
            </a:r>
            <a:r>
              <a:rPr lang="hu-HU" sz="1600" dirty="0"/>
              <a:t>-ekben</a:t>
            </a:r>
            <a:r>
              <a:rPr lang="en-US" sz="1600" dirty="0"/>
              <a:t>)</a:t>
            </a: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en-US" sz="1600" dirty="0"/>
              <a:t>End-to-End </a:t>
            </a:r>
            <a:r>
              <a:rPr lang="hu-HU" sz="1600" dirty="0"/>
              <a:t>titkosítás</a:t>
            </a:r>
            <a:r>
              <a:rPr lang="en-US" sz="1600" dirty="0"/>
              <a:t>: </a:t>
            </a:r>
            <a:r>
              <a:rPr lang="hu-HU" sz="1600" dirty="0"/>
              <a:t>blokkolhat bizonyos hálózati funkciókat és proxy szolgáltatásokat</a:t>
            </a:r>
            <a:endParaRPr lang="en-US" sz="1600" dirty="0"/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  <a:buFont typeface="Wingdings" panose="05000000000000000000" pitchFamily="2" charset="2"/>
              <a:buChar char="Ø"/>
            </a:pPr>
            <a:r>
              <a:rPr lang="hu-HU" sz="1600" dirty="0"/>
              <a:t>Sok eszköz szinkronizált kommunikációja </a:t>
            </a:r>
            <a:r>
              <a:rPr lang="en-US" sz="1600" dirty="0"/>
              <a:t>(e.g. geofencing): </a:t>
            </a:r>
            <a:r>
              <a:rPr lang="hu-HU" sz="1600" dirty="0"/>
              <a:t>könnyen túlterhelheti a hálózatot</a:t>
            </a:r>
            <a:endParaRPr lang="en-US" sz="16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6EC7BBA-F93B-49A5-AA61-A16D37466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934" y="239714"/>
            <a:ext cx="10587565" cy="1085371"/>
          </a:xfrm>
        </p:spPr>
        <p:txBody>
          <a:bodyPr/>
          <a:lstStyle/>
          <a:p>
            <a:r>
              <a:rPr lang="hu-HU" dirty="0"/>
              <a:t>Tipikus problémák</a:t>
            </a:r>
            <a:r>
              <a:rPr lang="en-US" dirty="0"/>
              <a:t> </a:t>
            </a:r>
            <a:r>
              <a:rPr lang="hu-HU" dirty="0"/>
              <a:t>/</a:t>
            </a:r>
            <a:r>
              <a:rPr lang="en-US" dirty="0"/>
              <a:t> </a:t>
            </a:r>
            <a:r>
              <a:rPr lang="hu-HU" dirty="0"/>
              <a:t>kihívások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4A8846-BFF8-4021-AD13-70E4406D58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52462" y="1511825"/>
            <a:ext cx="4550793" cy="163449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15D1FDC-AB7F-4968-A2FE-EC4F7D2C06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59560" y="3593691"/>
            <a:ext cx="5208462" cy="275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4845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Logo_ChapterSlide_Wide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0325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7780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368662"/>
            <a:ext cx="10680700" cy="829785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chemeClr val="bg1"/>
                </a:solidFill>
                <a:latin typeface="Ericsson Capital TT" pitchFamily="2" charset="0"/>
              </a:rPr>
              <a:t>IoT </a:t>
            </a:r>
            <a:r>
              <a:rPr lang="en-US" dirty="0" err="1">
                <a:solidFill>
                  <a:schemeClr val="bg1"/>
                </a:solidFill>
                <a:latin typeface="Ericsson Capital TT" pitchFamily="2" charset="0"/>
              </a:rPr>
              <a:t>haszn</a:t>
            </a:r>
            <a:r>
              <a:rPr lang="hu-HU" dirty="0">
                <a:solidFill>
                  <a:schemeClr val="bg1"/>
                </a:solidFill>
                <a:latin typeface="Ericsson Capital TT" pitchFamily="2" charset="0"/>
              </a:rPr>
              <a:t>álati példák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8" name="Picture 4" descr="White E-c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4805" y="360363"/>
            <a:ext cx="333375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3888182-3DD3-4EA8-80BE-D560C61CCD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993900" y="1533434"/>
            <a:ext cx="13562041" cy="5035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8775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Bildobjekt 94">
            <a:extLst>
              <a:ext uri="{FF2B5EF4-FFF2-40B4-BE49-F238E27FC236}">
                <a16:creationId xmlns:a16="http://schemas.microsoft.com/office/drawing/2014/main" id="{02C3E9A5-C107-4900-8A17-5D216F8A45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3ACC97A-E0F1-4082-94F4-2BB4A0878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844" y="173726"/>
            <a:ext cx="11220863" cy="1085371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Massive IoT </a:t>
            </a:r>
            <a:r>
              <a:rPr lang="hu-HU" sz="3600" dirty="0">
                <a:solidFill>
                  <a:schemeClr val="bg1"/>
                </a:solidFill>
              </a:rPr>
              <a:t>Architek</a:t>
            </a:r>
            <a:r>
              <a:rPr lang="en-US" sz="3600" dirty="0">
                <a:solidFill>
                  <a:schemeClr val="bg1"/>
                </a:solidFill>
              </a:rPr>
              <a:t>t</a:t>
            </a:r>
            <a:r>
              <a:rPr lang="hu-HU" sz="3600" dirty="0">
                <a:solidFill>
                  <a:schemeClr val="bg1"/>
                </a:solidFill>
              </a:rPr>
              <a:t>ú</a:t>
            </a:r>
            <a:r>
              <a:rPr lang="en-US" sz="3600" dirty="0">
                <a:solidFill>
                  <a:schemeClr val="bg1"/>
                </a:solidFill>
              </a:rPr>
              <a:t>r</a:t>
            </a:r>
            <a:r>
              <a:rPr lang="hu-HU" sz="3600" dirty="0">
                <a:solidFill>
                  <a:schemeClr val="bg1"/>
                </a:solidFill>
              </a:rPr>
              <a:t>A - áttekintés</a:t>
            </a:r>
            <a:endParaRPr lang="en-US" sz="3600" dirty="0">
              <a:solidFill>
                <a:schemeClr val="bg1"/>
              </a:solidFill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7F45622-13BF-4768-91A1-27CCAFE800D9}"/>
              </a:ext>
            </a:extLst>
          </p:cNvPr>
          <p:cNvCxnSpPr>
            <a:cxnSpLocks noChangeShapeType="1"/>
            <a:stCxn id="110" idx="1"/>
            <a:endCxn id="79" idx="3"/>
          </p:cNvCxnSpPr>
          <p:nvPr/>
        </p:nvCxnSpPr>
        <p:spPr bwMode="auto">
          <a:xfrm flipH="1">
            <a:off x="7918684" y="4083831"/>
            <a:ext cx="375115" cy="10304"/>
          </a:xfrm>
          <a:prstGeom prst="line">
            <a:avLst/>
          </a:prstGeom>
          <a:noFill/>
          <a:ln w="19050" algn="ctr">
            <a:solidFill>
              <a:srgbClr val="00A9D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" name="Straight Connector 4">
            <a:extLst>
              <a:ext uri="{FF2B5EF4-FFF2-40B4-BE49-F238E27FC236}">
                <a16:creationId xmlns:a16="http://schemas.microsoft.com/office/drawing/2014/main" id="{BC044D7B-7CCC-4169-A4C0-B1AF9D991C79}"/>
              </a:ext>
            </a:extLst>
          </p:cNvPr>
          <p:cNvCxnSpPr>
            <a:cxnSpLocks noChangeShapeType="1"/>
            <a:stCxn id="79" idx="1"/>
            <a:endCxn id="86" idx="3"/>
          </p:cNvCxnSpPr>
          <p:nvPr/>
        </p:nvCxnSpPr>
        <p:spPr bwMode="auto">
          <a:xfrm flipH="1">
            <a:off x="5486639" y="4094135"/>
            <a:ext cx="260815" cy="2010"/>
          </a:xfrm>
          <a:prstGeom prst="line">
            <a:avLst/>
          </a:prstGeom>
          <a:noFill/>
          <a:ln w="19050" algn="ctr">
            <a:solidFill>
              <a:srgbClr val="00A9D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Connector 4">
            <a:extLst>
              <a:ext uri="{FF2B5EF4-FFF2-40B4-BE49-F238E27FC236}">
                <a16:creationId xmlns:a16="http://schemas.microsoft.com/office/drawing/2014/main" id="{AFE36353-2D3A-4223-9C84-063465848B37}"/>
              </a:ext>
            </a:extLst>
          </p:cNvPr>
          <p:cNvCxnSpPr>
            <a:cxnSpLocks noChangeShapeType="1"/>
            <a:stCxn id="28" idx="2"/>
            <a:endCxn id="42" idx="3"/>
          </p:cNvCxnSpPr>
          <p:nvPr/>
        </p:nvCxnSpPr>
        <p:spPr bwMode="auto">
          <a:xfrm flipH="1">
            <a:off x="1376070" y="4098492"/>
            <a:ext cx="440690" cy="3562"/>
          </a:xfrm>
          <a:prstGeom prst="line">
            <a:avLst/>
          </a:prstGeom>
          <a:noFill/>
          <a:ln w="19050" algn="ctr">
            <a:solidFill>
              <a:srgbClr val="00A9D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8CC11C3B-AB03-45AF-8B52-D67A923AC72A}"/>
              </a:ext>
            </a:extLst>
          </p:cNvPr>
          <p:cNvSpPr/>
          <p:nvPr/>
        </p:nvSpPr>
        <p:spPr>
          <a:xfrm>
            <a:off x="3968275" y="2625219"/>
            <a:ext cx="130195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</a:rPr>
              <a:t>Maghálózat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E557F128-5283-4BDF-9AF6-633EEFEB3525}"/>
              </a:ext>
            </a:extLst>
          </p:cNvPr>
          <p:cNvSpPr/>
          <p:nvPr/>
        </p:nvSpPr>
        <p:spPr bwMode="auto">
          <a:xfrm>
            <a:off x="1816760" y="3645717"/>
            <a:ext cx="1668320" cy="905550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58585A"/>
              </a:solidFill>
            </a:endParaRPr>
          </a:p>
        </p:txBody>
      </p:sp>
      <p:sp>
        <p:nvSpPr>
          <p:cNvPr id="29" name="Freeform 122">
            <a:extLst>
              <a:ext uri="{FF2B5EF4-FFF2-40B4-BE49-F238E27FC236}">
                <a16:creationId xmlns:a16="http://schemas.microsoft.com/office/drawing/2014/main" id="{9A697DFD-7889-4530-A75C-81B85BF33E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66758" y="3730440"/>
            <a:ext cx="547254" cy="682023"/>
          </a:xfrm>
          <a:custGeom>
            <a:avLst/>
            <a:gdLst>
              <a:gd name="T0" fmla="*/ 2147483647 w 363"/>
              <a:gd name="T1" fmla="*/ 2147483647 h 447"/>
              <a:gd name="T2" fmla="*/ 2147483647 w 363"/>
              <a:gd name="T3" fmla="*/ 2147483647 h 447"/>
              <a:gd name="T4" fmla="*/ 2147483647 w 363"/>
              <a:gd name="T5" fmla="*/ 2147483647 h 447"/>
              <a:gd name="T6" fmla="*/ 2147483647 w 363"/>
              <a:gd name="T7" fmla="*/ 2147483647 h 447"/>
              <a:gd name="T8" fmla="*/ 2147483647 w 363"/>
              <a:gd name="T9" fmla="*/ 2147483647 h 447"/>
              <a:gd name="T10" fmla="*/ 2147483647 w 363"/>
              <a:gd name="T11" fmla="*/ 2147483647 h 447"/>
              <a:gd name="T12" fmla="*/ 2147483647 w 363"/>
              <a:gd name="T13" fmla="*/ 2147483647 h 447"/>
              <a:gd name="T14" fmla="*/ 2147483647 w 363"/>
              <a:gd name="T15" fmla="*/ 2147483647 h 447"/>
              <a:gd name="T16" fmla="*/ 2147483647 w 363"/>
              <a:gd name="T17" fmla="*/ 2147483647 h 447"/>
              <a:gd name="T18" fmla="*/ 2147483647 w 363"/>
              <a:gd name="T19" fmla="*/ 2147483647 h 447"/>
              <a:gd name="T20" fmla="*/ 2147483647 w 363"/>
              <a:gd name="T21" fmla="*/ 2147483647 h 447"/>
              <a:gd name="T22" fmla="*/ 2147483647 w 363"/>
              <a:gd name="T23" fmla="*/ 2147483647 h 447"/>
              <a:gd name="T24" fmla="*/ 2147483647 w 363"/>
              <a:gd name="T25" fmla="*/ 2147483647 h 447"/>
              <a:gd name="T26" fmla="*/ 2147483647 w 363"/>
              <a:gd name="T27" fmla="*/ 2147483647 h 447"/>
              <a:gd name="T28" fmla="*/ 2147483647 w 363"/>
              <a:gd name="T29" fmla="*/ 2147483647 h 447"/>
              <a:gd name="T30" fmla="*/ 2147483647 w 363"/>
              <a:gd name="T31" fmla="*/ 2147483647 h 447"/>
              <a:gd name="T32" fmla="*/ 2147483647 w 363"/>
              <a:gd name="T33" fmla="*/ 2147483647 h 447"/>
              <a:gd name="T34" fmla="*/ 2147483647 w 363"/>
              <a:gd name="T35" fmla="*/ 2147483647 h 447"/>
              <a:gd name="T36" fmla="*/ 2147483647 w 363"/>
              <a:gd name="T37" fmla="*/ 2147483647 h 447"/>
              <a:gd name="T38" fmla="*/ 2147483647 w 363"/>
              <a:gd name="T39" fmla="*/ 2147483647 h 447"/>
              <a:gd name="T40" fmla="*/ 2147483647 w 363"/>
              <a:gd name="T41" fmla="*/ 2147483647 h 447"/>
              <a:gd name="T42" fmla="*/ 0 w 363"/>
              <a:gd name="T43" fmla="*/ 2147483647 h 447"/>
              <a:gd name="T44" fmla="*/ 0 w 363"/>
              <a:gd name="T45" fmla="*/ 2147483647 h 447"/>
              <a:gd name="T46" fmla="*/ 2147483647 w 363"/>
              <a:gd name="T47" fmla="*/ 2147483647 h 447"/>
              <a:gd name="T48" fmla="*/ 2147483647 w 363"/>
              <a:gd name="T49" fmla="*/ 2147483647 h 447"/>
              <a:gd name="T50" fmla="*/ 2147483647 w 363"/>
              <a:gd name="T51" fmla="*/ 2147483647 h 447"/>
              <a:gd name="T52" fmla="*/ 2147483647 w 363"/>
              <a:gd name="T53" fmla="*/ 2147483647 h 447"/>
              <a:gd name="T54" fmla="*/ 2147483647 w 363"/>
              <a:gd name="T55" fmla="*/ 2147483647 h 447"/>
              <a:gd name="T56" fmla="*/ 2147483647 w 363"/>
              <a:gd name="T57" fmla="*/ 2147483647 h 447"/>
              <a:gd name="T58" fmla="*/ 2147483647 w 363"/>
              <a:gd name="T59" fmla="*/ 2147483647 h 447"/>
              <a:gd name="T60" fmla="*/ 2147483647 w 363"/>
              <a:gd name="T61" fmla="*/ 2147483647 h 447"/>
              <a:gd name="T62" fmla="*/ 2147483647 w 363"/>
              <a:gd name="T63" fmla="*/ 2147483647 h 447"/>
              <a:gd name="T64" fmla="*/ 2147483647 w 363"/>
              <a:gd name="T65" fmla="*/ 2147483647 h 447"/>
              <a:gd name="T66" fmla="*/ 2147483647 w 363"/>
              <a:gd name="T67" fmla="*/ 2147483647 h 447"/>
              <a:gd name="T68" fmla="*/ 2147483647 w 363"/>
              <a:gd name="T69" fmla="*/ 2147483647 h 447"/>
              <a:gd name="T70" fmla="*/ 2147483647 w 363"/>
              <a:gd name="T71" fmla="*/ 2147483647 h 447"/>
              <a:gd name="T72" fmla="*/ 2147483647 w 363"/>
              <a:gd name="T73" fmla="*/ 2147483647 h 447"/>
              <a:gd name="T74" fmla="*/ 2147483647 w 363"/>
              <a:gd name="T75" fmla="*/ 2147483647 h 447"/>
              <a:gd name="T76" fmla="*/ 2147483647 w 363"/>
              <a:gd name="T77" fmla="*/ 2147483647 h 447"/>
              <a:gd name="T78" fmla="*/ 2147483647 w 363"/>
              <a:gd name="T79" fmla="*/ 2147483647 h 447"/>
              <a:gd name="T80" fmla="*/ 2147483647 w 363"/>
              <a:gd name="T81" fmla="*/ 2147483647 h 447"/>
              <a:gd name="T82" fmla="*/ 2147483647 w 363"/>
              <a:gd name="T83" fmla="*/ 2147483647 h 447"/>
              <a:gd name="T84" fmla="*/ 2147483647 w 363"/>
              <a:gd name="T85" fmla="*/ 2147483647 h 447"/>
              <a:gd name="T86" fmla="*/ 2147483647 w 363"/>
              <a:gd name="T87" fmla="*/ 2147483647 h 447"/>
              <a:gd name="T88" fmla="*/ 2147483647 w 363"/>
              <a:gd name="T89" fmla="*/ 2147483647 h 447"/>
              <a:gd name="T90" fmla="*/ 2147483647 w 363"/>
              <a:gd name="T91" fmla="*/ 2147483647 h 447"/>
              <a:gd name="T92" fmla="*/ 2147483647 w 363"/>
              <a:gd name="T93" fmla="*/ 2147483647 h 447"/>
              <a:gd name="T94" fmla="*/ 2147483647 w 363"/>
              <a:gd name="T95" fmla="*/ 2147483647 h 447"/>
              <a:gd name="T96" fmla="*/ 2147483647 w 363"/>
              <a:gd name="T97" fmla="*/ 2147483647 h 447"/>
              <a:gd name="T98" fmla="*/ 2147483647 w 363"/>
              <a:gd name="T99" fmla="*/ 2147483647 h 44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363" h="447">
                <a:moveTo>
                  <a:pt x="85" y="38"/>
                </a:moveTo>
                <a:cubicBezTo>
                  <a:pt x="85" y="38"/>
                  <a:pt x="85" y="38"/>
                  <a:pt x="85" y="38"/>
                </a:cubicBezTo>
                <a:cubicBezTo>
                  <a:pt x="85" y="36"/>
                  <a:pt x="84" y="34"/>
                  <a:pt x="83" y="32"/>
                </a:cubicBezTo>
                <a:cubicBezTo>
                  <a:pt x="80" y="29"/>
                  <a:pt x="75" y="29"/>
                  <a:pt x="72" y="32"/>
                </a:cubicBezTo>
                <a:cubicBezTo>
                  <a:pt x="51" y="53"/>
                  <a:pt x="41" y="79"/>
                  <a:pt x="41" y="106"/>
                </a:cubicBezTo>
                <a:cubicBezTo>
                  <a:pt x="41" y="106"/>
                  <a:pt x="41" y="106"/>
                  <a:pt x="41" y="106"/>
                </a:cubicBezTo>
                <a:cubicBezTo>
                  <a:pt x="41" y="132"/>
                  <a:pt x="51" y="159"/>
                  <a:pt x="72" y="179"/>
                </a:cubicBezTo>
                <a:cubicBezTo>
                  <a:pt x="75" y="182"/>
                  <a:pt x="80" y="182"/>
                  <a:pt x="83" y="179"/>
                </a:cubicBezTo>
                <a:cubicBezTo>
                  <a:pt x="84" y="178"/>
                  <a:pt x="85" y="176"/>
                  <a:pt x="85" y="174"/>
                </a:cubicBezTo>
                <a:cubicBezTo>
                  <a:pt x="85" y="174"/>
                  <a:pt x="85" y="174"/>
                  <a:pt x="85" y="174"/>
                </a:cubicBezTo>
                <a:cubicBezTo>
                  <a:pt x="85" y="172"/>
                  <a:pt x="84" y="169"/>
                  <a:pt x="83" y="168"/>
                </a:cubicBezTo>
                <a:cubicBezTo>
                  <a:pt x="66" y="151"/>
                  <a:pt x="57" y="128"/>
                  <a:pt x="57" y="106"/>
                </a:cubicBezTo>
                <a:cubicBezTo>
                  <a:pt x="57" y="83"/>
                  <a:pt x="66" y="61"/>
                  <a:pt x="83" y="44"/>
                </a:cubicBezTo>
                <a:cubicBezTo>
                  <a:pt x="84" y="42"/>
                  <a:pt x="85" y="40"/>
                  <a:pt x="85" y="38"/>
                </a:cubicBezTo>
                <a:close/>
                <a:moveTo>
                  <a:pt x="48" y="191"/>
                </a:moveTo>
                <a:cubicBezTo>
                  <a:pt x="48" y="191"/>
                  <a:pt x="47" y="191"/>
                  <a:pt x="47" y="190"/>
                </a:cubicBezTo>
                <a:cubicBezTo>
                  <a:pt x="45" y="188"/>
                  <a:pt x="44" y="186"/>
                  <a:pt x="42" y="184"/>
                </a:cubicBezTo>
                <a:cubicBezTo>
                  <a:pt x="42" y="184"/>
                  <a:pt x="42" y="184"/>
                  <a:pt x="42" y="184"/>
                </a:cubicBezTo>
                <a:cubicBezTo>
                  <a:pt x="41" y="182"/>
                  <a:pt x="40" y="181"/>
                  <a:pt x="39" y="180"/>
                </a:cubicBezTo>
                <a:cubicBezTo>
                  <a:pt x="33" y="171"/>
                  <a:pt x="28" y="162"/>
                  <a:pt x="24" y="152"/>
                </a:cubicBezTo>
                <a:cubicBezTo>
                  <a:pt x="24" y="151"/>
                  <a:pt x="23" y="149"/>
                  <a:pt x="23" y="148"/>
                </a:cubicBezTo>
                <a:cubicBezTo>
                  <a:pt x="22" y="147"/>
                  <a:pt x="22" y="147"/>
                  <a:pt x="22" y="146"/>
                </a:cubicBezTo>
                <a:cubicBezTo>
                  <a:pt x="22" y="145"/>
                  <a:pt x="21" y="143"/>
                  <a:pt x="21" y="142"/>
                </a:cubicBezTo>
                <a:cubicBezTo>
                  <a:pt x="21" y="141"/>
                  <a:pt x="20" y="141"/>
                  <a:pt x="20" y="140"/>
                </a:cubicBezTo>
                <a:cubicBezTo>
                  <a:pt x="20" y="139"/>
                  <a:pt x="20" y="137"/>
                  <a:pt x="19" y="136"/>
                </a:cubicBezTo>
                <a:cubicBezTo>
                  <a:pt x="19" y="135"/>
                  <a:pt x="19" y="135"/>
                  <a:pt x="19" y="134"/>
                </a:cubicBezTo>
                <a:cubicBezTo>
                  <a:pt x="18" y="133"/>
                  <a:pt x="18" y="131"/>
                  <a:pt x="18" y="130"/>
                </a:cubicBezTo>
                <a:cubicBezTo>
                  <a:pt x="18" y="129"/>
                  <a:pt x="18" y="128"/>
                  <a:pt x="17" y="127"/>
                </a:cubicBezTo>
                <a:cubicBezTo>
                  <a:pt x="17" y="126"/>
                  <a:pt x="17" y="125"/>
                  <a:pt x="17" y="124"/>
                </a:cubicBezTo>
                <a:cubicBezTo>
                  <a:pt x="17" y="123"/>
                  <a:pt x="17" y="122"/>
                  <a:pt x="17" y="121"/>
                </a:cubicBezTo>
                <a:cubicBezTo>
                  <a:pt x="16" y="120"/>
                  <a:pt x="16" y="119"/>
                  <a:pt x="16" y="118"/>
                </a:cubicBezTo>
                <a:cubicBezTo>
                  <a:pt x="16" y="117"/>
                  <a:pt x="16" y="116"/>
                  <a:pt x="16" y="114"/>
                </a:cubicBezTo>
                <a:cubicBezTo>
                  <a:pt x="16" y="113"/>
                  <a:pt x="16" y="113"/>
                  <a:pt x="16" y="112"/>
                </a:cubicBezTo>
                <a:cubicBezTo>
                  <a:pt x="16" y="110"/>
                  <a:pt x="16" y="108"/>
                  <a:pt x="16" y="106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6" y="104"/>
                  <a:pt x="16" y="102"/>
                  <a:pt x="16" y="100"/>
                </a:cubicBezTo>
                <a:cubicBezTo>
                  <a:pt x="16" y="99"/>
                  <a:pt x="16" y="98"/>
                  <a:pt x="16" y="97"/>
                </a:cubicBezTo>
                <a:cubicBezTo>
                  <a:pt x="16" y="96"/>
                  <a:pt x="16" y="95"/>
                  <a:pt x="16" y="93"/>
                </a:cubicBezTo>
                <a:cubicBezTo>
                  <a:pt x="16" y="92"/>
                  <a:pt x="16" y="92"/>
                  <a:pt x="17" y="91"/>
                </a:cubicBezTo>
                <a:cubicBezTo>
                  <a:pt x="17" y="90"/>
                  <a:pt x="17" y="88"/>
                  <a:pt x="17" y="87"/>
                </a:cubicBezTo>
                <a:cubicBezTo>
                  <a:pt x="17" y="86"/>
                  <a:pt x="17" y="85"/>
                  <a:pt x="17" y="84"/>
                </a:cubicBezTo>
                <a:cubicBezTo>
                  <a:pt x="18" y="83"/>
                  <a:pt x="18" y="82"/>
                  <a:pt x="18" y="81"/>
                </a:cubicBezTo>
                <a:cubicBezTo>
                  <a:pt x="18" y="80"/>
                  <a:pt x="18" y="79"/>
                  <a:pt x="19" y="78"/>
                </a:cubicBezTo>
                <a:cubicBezTo>
                  <a:pt x="19" y="77"/>
                  <a:pt x="19" y="76"/>
                  <a:pt x="19" y="75"/>
                </a:cubicBezTo>
                <a:cubicBezTo>
                  <a:pt x="20" y="74"/>
                  <a:pt x="20" y="73"/>
                  <a:pt x="20" y="71"/>
                </a:cubicBezTo>
                <a:cubicBezTo>
                  <a:pt x="20" y="71"/>
                  <a:pt x="21" y="70"/>
                  <a:pt x="21" y="70"/>
                </a:cubicBezTo>
                <a:cubicBezTo>
                  <a:pt x="21" y="68"/>
                  <a:pt x="22" y="67"/>
                  <a:pt x="22" y="65"/>
                </a:cubicBezTo>
                <a:cubicBezTo>
                  <a:pt x="22" y="65"/>
                  <a:pt x="22" y="65"/>
                  <a:pt x="23" y="64"/>
                </a:cubicBezTo>
                <a:cubicBezTo>
                  <a:pt x="23" y="63"/>
                  <a:pt x="24" y="61"/>
                  <a:pt x="24" y="60"/>
                </a:cubicBezTo>
                <a:cubicBezTo>
                  <a:pt x="28" y="50"/>
                  <a:pt x="33" y="40"/>
                  <a:pt x="39" y="32"/>
                </a:cubicBezTo>
                <a:cubicBezTo>
                  <a:pt x="40" y="30"/>
                  <a:pt x="41" y="29"/>
                  <a:pt x="42" y="28"/>
                </a:cubicBezTo>
                <a:cubicBezTo>
                  <a:pt x="42" y="28"/>
                  <a:pt x="42" y="27"/>
                  <a:pt x="42" y="27"/>
                </a:cubicBezTo>
                <a:cubicBezTo>
                  <a:pt x="44" y="25"/>
                  <a:pt x="45" y="23"/>
                  <a:pt x="47" y="21"/>
                </a:cubicBezTo>
                <a:cubicBezTo>
                  <a:pt x="47" y="21"/>
                  <a:pt x="48" y="21"/>
                  <a:pt x="48" y="20"/>
                </a:cubicBezTo>
                <a:cubicBezTo>
                  <a:pt x="50" y="18"/>
                  <a:pt x="52" y="16"/>
                  <a:pt x="54" y="14"/>
                </a:cubicBezTo>
                <a:cubicBezTo>
                  <a:pt x="55" y="13"/>
                  <a:pt x="56" y="11"/>
                  <a:pt x="56" y="9"/>
                </a:cubicBezTo>
                <a:cubicBezTo>
                  <a:pt x="56" y="8"/>
                  <a:pt x="56" y="7"/>
                  <a:pt x="56" y="6"/>
                </a:cubicBezTo>
                <a:cubicBezTo>
                  <a:pt x="55" y="6"/>
                  <a:pt x="55" y="6"/>
                  <a:pt x="55" y="6"/>
                </a:cubicBezTo>
                <a:cubicBezTo>
                  <a:pt x="55" y="6"/>
                  <a:pt x="55" y="6"/>
                  <a:pt x="55" y="6"/>
                </a:cubicBezTo>
                <a:cubicBezTo>
                  <a:pt x="55" y="5"/>
                  <a:pt x="54" y="4"/>
                  <a:pt x="54" y="3"/>
                </a:cubicBezTo>
                <a:cubicBezTo>
                  <a:pt x="52" y="2"/>
                  <a:pt x="51" y="1"/>
                  <a:pt x="49" y="1"/>
                </a:cubicBezTo>
                <a:cubicBezTo>
                  <a:pt x="47" y="0"/>
                  <a:pt x="44" y="1"/>
                  <a:pt x="42" y="3"/>
                </a:cubicBezTo>
                <a:cubicBezTo>
                  <a:pt x="40" y="5"/>
                  <a:pt x="38" y="7"/>
                  <a:pt x="36" y="10"/>
                </a:cubicBezTo>
                <a:cubicBezTo>
                  <a:pt x="36" y="10"/>
                  <a:pt x="35" y="11"/>
                  <a:pt x="35" y="11"/>
                </a:cubicBezTo>
                <a:cubicBezTo>
                  <a:pt x="33" y="13"/>
                  <a:pt x="31" y="15"/>
                  <a:pt x="30" y="17"/>
                </a:cubicBezTo>
                <a:cubicBezTo>
                  <a:pt x="29" y="18"/>
                  <a:pt x="29" y="18"/>
                  <a:pt x="29" y="18"/>
                </a:cubicBezTo>
                <a:cubicBezTo>
                  <a:pt x="29" y="18"/>
                  <a:pt x="29" y="18"/>
                  <a:pt x="29" y="18"/>
                </a:cubicBezTo>
                <a:cubicBezTo>
                  <a:pt x="28" y="20"/>
                  <a:pt x="27" y="21"/>
                  <a:pt x="26" y="23"/>
                </a:cubicBezTo>
                <a:cubicBezTo>
                  <a:pt x="25" y="23"/>
                  <a:pt x="25" y="23"/>
                  <a:pt x="25" y="23"/>
                </a:cubicBezTo>
                <a:cubicBezTo>
                  <a:pt x="25" y="23"/>
                  <a:pt x="25" y="23"/>
                  <a:pt x="25" y="23"/>
                </a:cubicBezTo>
                <a:cubicBezTo>
                  <a:pt x="19" y="33"/>
                  <a:pt x="14" y="43"/>
                  <a:pt x="9" y="53"/>
                </a:cubicBezTo>
                <a:cubicBezTo>
                  <a:pt x="9" y="53"/>
                  <a:pt x="9" y="53"/>
                  <a:pt x="9" y="53"/>
                </a:cubicBezTo>
                <a:cubicBezTo>
                  <a:pt x="9" y="53"/>
                  <a:pt x="9" y="53"/>
                  <a:pt x="9" y="53"/>
                </a:cubicBezTo>
                <a:cubicBezTo>
                  <a:pt x="9" y="55"/>
                  <a:pt x="8" y="57"/>
                  <a:pt x="7" y="59"/>
                </a:cubicBezTo>
                <a:cubicBezTo>
                  <a:pt x="7" y="59"/>
                  <a:pt x="7" y="60"/>
                  <a:pt x="7" y="60"/>
                </a:cubicBezTo>
                <a:cubicBezTo>
                  <a:pt x="6" y="62"/>
                  <a:pt x="6" y="64"/>
                  <a:pt x="5" y="65"/>
                </a:cubicBezTo>
                <a:cubicBezTo>
                  <a:pt x="5" y="66"/>
                  <a:pt x="5" y="66"/>
                  <a:pt x="5" y="67"/>
                </a:cubicBezTo>
                <a:cubicBezTo>
                  <a:pt x="4" y="69"/>
                  <a:pt x="4" y="70"/>
                  <a:pt x="4" y="72"/>
                </a:cubicBezTo>
                <a:cubicBezTo>
                  <a:pt x="3" y="73"/>
                  <a:pt x="3" y="73"/>
                  <a:pt x="3" y="74"/>
                </a:cubicBezTo>
                <a:cubicBezTo>
                  <a:pt x="3" y="75"/>
                  <a:pt x="3" y="77"/>
                  <a:pt x="2" y="78"/>
                </a:cubicBezTo>
                <a:cubicBezTo>
                  <a:pt x="2" y="79"/>
                  <a:pt x="2" y="80"/>
                  <a:pt x="2" y="81"/>
                </a:cubicBezTo>
                <a:cubicBezTo>
                  <a:pt x="2" y="82"/>
                  <a:pt x="1" y="84"/>
                  <a:pt x="1" y="85"/>
                </a:cubicBezTo>
                <a:cubicBezTo>
                  <a:pt x="1" y="86"/>
                  <a:pt x="1" y="87"/>
                  <a:pt x="1" y="89"/>
                </a:cubicBezTo>
                <a:cubicBezTo>
                  <a:pt x="1" y="90"/>
                  <a:pt x="0" y="91"/>
                  <a:pt x="0" y="92"/>
                </a:cubicBezTo>
                <a:cubicBezTo>
                  <a:pt x="0" y="93"/>
                  <a:pt x="0" y="95"/>
                  <a:pt x="0" y="96"/>
                </a:cubicBezTo>
                <a:cubicBezTo>
                  <a:pt x="0" y="97"/>
                  <a:pt x="0" y="98"/>
                  <a:pt x="0" y="99"/>
                </a:cubicBezTo>
                <a:cubicBezTo>
                  <a:pt x="0" y="101"/>
                  <a:pt x="0" y="103"/>
                  <a:pt x="0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8"/>
                  <a:pt x="0" y="111"/>
                  <a:pt x="0" y="113"/>
                </a:cubicBezTo>
                <a:cubicBezTo>
                  <a:pt x="0" y="114"/>
                  <a:pt x="0" y="115"/>
                  <a:pt x="0" y="115"/>
                </a:cubicBezTo>
                <a:cubicBezTo>
                  <a:pt x="0" y="117"/>
                  <a:pt x="0" y="118"/>
                  <a:pt x="0" y="120"/>
                </a:cubicBezTo>
                <a:cubicBezTo>
                  <a:pt x="0" y="121"/>
                  <a:pt x="1" y="122"/>
                  <a:pt x="1" y="123"/>
                </a:cubicBezTo>
                <a:cubicBezTo>
                  <a:pt x="1" y="124"/>
                  <a:pt x="1" y="125"/>
                  <a:pt x="1" y="127"/>
                </a:cubicBezTo>
                <a:cubicBezTo>
                  <a:pt x="1" y="128"/>
                  <a:pt x="2" y="129"/>
                  <a:pt x="2" y="130"/>
                </a:cubicBezTo>
                <a:cubicBezTo>
                  <a:pt x="2" y="131"/>
                  <a:pt x="2" y="132"/>
                  <a:pt x="2" y="133"/>
                </a:cubicBezTo>
                <a:cubicBezTo>
                  <a:pt x="3" y="135"/>
                  <a:pt x="3" y="136"/>
                  <a:pt x="3" y="138"/>
                </a:cubicBezTo>
                <a:cubicBezTo>
                  <a:pt x="3" y="138"/>
                  <a:pt x="3" y="139"/>
                  <a:pt x="4" y="140"/>
                </a:cubicBezTo>
                <a:cubicBezTo>
                  <a:pt x="4" y="141"/>
                  <a:pt x="4" y="143"/>
                  <a:pt x="5" y="145"/>
                </a:cubicBezTo>
                <a:cubicBezTo>
                  <a:pt x="5" y="145"/>
                  <a:pt x="5" y="146"/>
                  <a:pt x="5" y="146"/>
                </a:cubicBezTo>
                <a:cubicBezTo>
                  <a:pt x="6" y="148"/>
                  <a:pt x="6" y="150"/>
                  <a:pt x="7" y="152"/>
                </a:cubicBezTo>
                <a:cubicBezTo>
                  <a:pt x="7" y="152"/>
                  <a:pt x="7" y="152"/>
                  <a:pt x="7" y="152"/>
                </a:cubicBezTo>
                <a:cubicBezTo>
                  <a:pt x="8" y="154"/>
                  <a:pt x="9" y="156"/>
                  <a:pt x="9" y="158"/>
                </a:cubicBezTo>
                <a:cubicBezTo>
                  <a:pt x="9" y="158"/>
                  <a:pt x="9" y="158"/>
                  <a:pt x="9" y="158"/>
                </a:cubicBezTo>
                <a:cubicBezTo>
                  <a:pt x="9" y="158"/>
                  <a:pt x="9" y="158"/>
                  <a:pt x="9" y="158"/>
                </a:cubicBezTo>
                <a:cubicBezTo>
                  <a:pt x="14" y="169"/>
                  <a:pt x="19" y="179"/>
                  <a:pt x="25" y="188"/>
                </a:cubicBezTo>
                <a:cubicBezTo>
                  <a:pt x="25" y="188"/>
                  <a:pt x="25" y="188"/>
                  <a:pt x="25" y="188"/>
                </a:cubicBezTo>
                <a:cubicBezTo>
                  <a:pt x="25" y="188"/>
                  <a:pt x="25" y="189"/>
                  <a:pt x="26" y="189"/>
                </a:cubicBezTo>
                <a:cubicBezTo>
                  <a:pt x="27" y="190"/>
                  <a:pt x="28" y="192"/>
                  <a:pt x="29" y="193"/>
                </a:cubicBezTo>
                <a:cubicBezTo>
                  <a:pt x="29" y="193"/>
                  <a:pt x="29" y="194"/>
                  <a:pt x="29" y="194"/>
                </a:cubicBezTo>
                <a:cubicBezTo>
                  <a:pt x="29" y="194"/>
                  <a:pt x="29" y="194"/>
                  <a:pt x="30" y="194"/>
                </a:cubicBezTo>
                <a:cubicBezTo>
                  <a:pt x="31" y="196"/>
                  <a:pt x="33" y="198"/>
                  <a:pt x="35" y="201"/>
                </a:cubicBezTo>
                <a:cubicBezTo>
                  <a:pt x="35" y="201"/>
                  <a:pt x="36" y="201"/>
                  <a:pt x="36" y="202"/>
                </a:cubicBezTo>
                <a:cubicBezTo>
                  <a:pt x="38" y="204"/>
                  <a:pt x="40" y="206"/>
                  <a:pt x="42" y="209"/>
                </a:cubicBezTo>
                <a:cubicBezTo>
                  <a:pt x="44" y="211"/>
                  <a:pt x="47" y="211"/>
                  <a:pt x="49" y="211"/>
                </a:cubicBezTo>
                <a:cubicBezTo>
                  <a:pt x="51" y="211"/>
                  <a:pt x="52" y="210"/>
                  <a:pt x="54" y="209"/>
                </a:cubicBezTo>
                <a:cubicBezTo>
                  <a:pt x="54" y="208"/>
                  <a:pt x="55" y="207"/>
                  <a:pt x="55" y="206"/>
                </a:cubicBezTo>
                <a:cubicBezTo>
                  <a:pt x="55" y="206"/>
                  <a:pt x="55" y="206"/>
                  <a:pt x="55" y="206"/>
                </a:cubicBezTo>
                <a:cubicBezTo>
                  <a:pt x="55" y="206"/>
                  <a:pt x="55" y="206"/>
                  <a:pt x="56" y="205"/>
                </a:cubicBezTo>
                <a:cubicBezTo>
                  <a:pt x="56" y="205"/>
                  <a:pt x="56" y="204"/>
                  <a:pt x="56" y="203"/>
                </a:cubicBezTo>
                <a:cubicBezTo>
                  <a:pt x="56" y="201"/>
                  <a:pt x="55" y="199"/>
                  <a:pt x="54" y="197"/>
                </a:cubicBezTo>
                <a:cubicBezTo>
                  <a:pt x="52" y="195"/>
                  <a:pt x="50" y="193"/>
                  <a:pt x="48" y="191"/>
                </a:cubicBezTo>
                <a:close/>
                <a:moveTo>
                  <a:pt x="207" y="60"/>
                </a:moveTo>
                <a:cubicBezTo>
                  <a:pt x="158" y="60"/>
                  <a:pt x="158" y="60"/>
                  <a:pt x="158" y="60"/>
                </a:cubicBezTo>
                <a:cubicBezTo>
                  <a:pt x="147" y="60"/>
                  <a:pt x="138" y="69"/>
                  <a:pt x="138" y="80"/>
                </a:cubicBezTo>
                <a:cubicBezTo>
                  <a:pt x="138" y="439"/>
                  <a:pt x="138" y="439"/>
                  <a:pt x="138" y="439"/>
                </a:cubicBezTo>
                <a:cubicBezTo>
                  <a:pt x="138" y="443"/>
                  <a:pt x="142" y="447"/>
                  <a:pt x="146" y="447"/>
                </a:cubicBezTo>
                <a:cubicBezTo>
                  <a:pt x="151" y="447"/>
                  <a:pt x="154" y="443"/>
                  <a:pt x="154" y="439"/>
                </a:cubicBezTo>
                <a:cubicBezTo>
                  <a:pt x="154" y="420"/>
                  <a:pt x="154" y="420"/>
                  <a:pt x="154" y="420"/>
                </a:cubicBezTo>
                <a:cubicBezTo>
                  <a:pt x="211" y="363"/>
                  <a:pt x="211" y="363"/>
                  <a:pt x="211" y="363"/>
                </a:cubicBezTo>
                <a:cubicBezTo>
                  <a:pt x="211" y="439"/>
                  <a:pt x="211" y="439"/>
                  <a:pt x="211" y="439"/>
                </a:cubicBezTo>
                <a:cubicBezTo>
                  <a:pt x="211" y="443"/>
                  <a:pt x="215" y="447"/>
                  <a:pt x="219" y="447"/>
                </a:cubicBezTo>
                <a:cubicBezTo>
                  <a:pt x="223" y="447"/>
                  <a:pt x="227" y="443"/>
                  <a:pt x="227" y="439"/>
                </a:cubicBezTo>
                <a:cubicBezTo>
                  <a:pt x="227" y="80"/>
                  <a:pt x="227" y="80"/>
                  <a:pt x="227" y="80"/>
                </a:cubicBezTo>
                <a:cubicBezTo>
                  <a:pt x="227" y="69"/>
                  <a:pt x="218" y="60"/>
                  <a:pt x="207" y="60"/>
                </a:cubicBezTo>
                <a:close/>
                <a:moveTo>
                  <a:pt x="154" y="80"/>
                </a:moveTo>
                <a:cubicBezTo>
                  <a:pt x="154" y="78"/>
                  <a:pt x="156" y="76"/>
                  <a:pt x="158" y="76"/>
                </a:cubicBezTo>
                <a:cubicBezTo>
                  <a:pt x="198" y="76"/>
                  <a:pt x="198" y="76"/>
                  <a:pt x="198" y="76"/>
                </a:cubicBezTo>
                <a:cubicBezTo>
                  <a:pt x="154" y="120"/>
                  <a:pt x="154" y="120"/>
                  <a:pt x="154" y="120"/>
                </a:cubicBezTo>
                <a:lnTo>
                  <a:pt x="154" y="80"/>
                </a:lnTo>
                <a:close/>
                <a:moveTo>
                  <a:pt x="154" y="155"/>
                </a:moveTo>
                <a:cubicBezTo>
                  <a:pt x="207" y="207"/>
                  <a:pt x="207" y="207"/>
                  <a:pt x="207" y="207"/>
                </a:cubicBezTo>
                <a:cubicBezTo>
                  <a:pt x="154" y="260"/>
                  <a:pt x="154" y="260"/>
                  <a:pt x="154" y="260"/>
                </a:cubicBezTo>
                <a:lnTo>
                  <a:pt x="154" y="155"/>
                </a:lnTo>
                <a:close/>
                <a:moveTo>
                  <a:pt x="154" y="397"/>
                </a:moveTo>
                <a:cubicBezTo>
                  <a:pt x="154" y="294"/>
                  <a:pt x="154" y="294"/>
                  <a:pt x="154" y="294"/>
                </a:cubicBezTo>
                <a:cubicBezTo>
                  <a:pt x="206" y="346"/>
                  <a:pt x="206" y="346"/>
                  <a:pt x="206" y="346"/>
                </a:cubicBezTo>
                <a:lnTo>
                  <a:pt x="154" y="397"/>
                </a:lnTo>
                <a:close/>
                <a:moveTo>
                  <a:pt x="211" y="328"/>
                </a:moveTo>
                <a:cubicBezTo>
                  <a:pt x="160" y="277"/>
                  <a:pt x="160" y="277"/>
                  <a:pt x="160" y="277"/>
                </a:cubicBezTo>
                <a:cubicBezTo>
                  <a:pt x="211" y="226"/>
                  <a:pt x="211" y="226"/>
                  <a:pt x="211" y="226"/>
                </a:cubicBezTo>
                <a:lnTo>
                  <a:pt x="211" y="328"/>
                </a:lnTo>
                <a:close/>
                <a:moveTo>
                  <a:pt x="211" y="189"/>
                </a:moveTo>
                <a:cubicBezTo>
                  <a:pt x="159" y="137"/>
                  <a:pt x="159" y="137"/>
                  <a:pt x="159" y="137"/>
                </a:cubicBezTo>
                <a:cubicBezTo>
                  <a:pt x="211" y="86"/>
                  <a:pt x="211" y="86"/>
                  <a:pt x="211" y="86"/>
                </a:cubicBezTo>
                <a:lnTo>
                  <a:pt x="211" y="189"/>
                </a:lnTo>
                <a:close/>
                <a:moveTo>
                  <a:pt x="107" y="58"/>
                </a:moveTo>
                <a:cubicBezTo>
                  <a:pt x="103" y="58"/>
                  <a:pt x="99" y="62"/>
                  <a:pt x="99" y="66"/>
                </a:cubicBezTo>
                <a:cubicBezTo>
                  <a:pt x="99" y="144"/>
                  <a:pt x="99" y="144"/>
                  <a:pt x="99" y="144"/>
                </a:cubicBezTo>
                <a:cubicBezTo>
                  <a:pt x="99" y="148"/>
                  <a:pt x="103" y="152"/>
                  <a:pt x="107" y="152"/>
                </a:cubicBezTo>
                <a:cubicBezTo>
                  <a:pt x="111" y="152"/>
                  <a:pt x="115" y="148"/>
                  <a:pt x="115" y="144"/>
                </a:cubicBezTo>
                <a:cubicBezTo>
                  <a:pt x="115" y="66"/>
                  <a:pt x="115" y="66"/>
                  <a:pt x="115" y="66"/>
                </a:cubicBezTo>
                <a:cubicBezTo>
                  <a:pt x="115" y="62"/>
                  <a:pt x="111" y="58"/>
                  <a:pt x="107" y="58"/>
                </a:cubicBezTo>
                <a:close/>
                <a:moveTo>
                  <a:pt x="320" y="28"/>
                </a:moveTo>
                <a:cubicBezTo>
                  <a:pt x="322" y="29"/>
                  <a:pt x="323" y="31"/>
                  <a:pt x="324" y="33"/>
                </a:cubicBezTo>
                <a:cubicBezTo>
                  <a:pt x="327" y="36"/>
                  <a:pt x="332" y="37"/>
                  <a:pt x="335" y="35"/>
                </a:cubicBezTo>
                <a:cubicBezTo>
                  <a:pt x="339" y="32"/>
                  <a:pt x="340" y="27"/>
                  <a:pt x="337" y="23"/>
                </a:cubicBezTo>
                <a:cubicBezTo>
                  <a:pt x="336" y="22"/>
                  <a:pt x="335" y="20"/>
                  <a:pt x="333" y="18"/>
                </a:cubicBezTo>
                <a:cubicBezTo>
                  <a:pt x="329" y="13"/>
                  <a:pt x="325" y="8"/>
                  <a:pt x="320" y="3"/>
                </a:cubicBezTo>
                <a:cubicBezTo>
                  <a:pt x="317" y="0"/>
                  <a:pt x="312" y="0"/>
                  <a:pt x="309" y="3"/>
                </a:cubicBezTo>
                <a:cubicBezTo>
                  <a:pt x="307" y="4"/>
                  <a:pt x="306" y="7"/>
                  <a:pt x="306" y="9"/>
                </a:cubicBezTo>
                <a:cubicBezTo>
                  <a:pt x="306" y="11"/>
                  <a:pt x="307" y="13"/>
                  <a:pt x="309" y="14"/>
                </a:cubicBezTo>
                <a:cubicBezTo>
                  <a:pt x="313" y="18"/>
                  <a:pt x="317" y="23"/>
                  <a:pt x="320" y="28"/>
                </a:cubicBezTo>
                <a:close/>
                <a:moveTo>
                  <a:pt x="257" y="59"/>
                </a:moveTo>
                <a:cubicBezTo>
                  <a:pt x="252" y="59"/>
                  <a:pt x="249" y="63"/>
                  <a:pt x="249" y="67"/>
                </a:cubicBezTo>
                <a:cubicBezTo>
                  <a:pt x="249" y="145"/>
                  <a:pt x="249" y="145"/>
                  <a:pt x="249" y="145"/>
                </a:cubicBezTo>
                <a:cubicBezTo>
                  <a:pt x="249" y="149"/>
                  <a:pt x="252" y="153"/>
                  <a:pt x="257" y="153"/>
                </a:cubicBezTo>
                <a:cubicBezTo>
                  <a:pt x="261" y="153"/>
                  <a:pt x="265" y="149"/>
                  <a:pt x="265" y="145"/>
                </a:cubicBezTo>
                <a:cubicBezTo>
                  <a:pt x="265" y="67"/>
                  <a:pt x="265" y="67"/>
                  <a:pt x="265" y="67"/>
                </a:cubicBezTo>
                <a:cubicBezTo>
                  <a:pt x="265" y="63"/>
                  <a:pt x="261" y="59"/>
                  <a:pt x="257" y="59"/>
                </a:cubicBezTo>
                <a:close/>
                <a:moveTo>
                  <a:pt x="291" y="32"/>
                </a:moveTo>
                <a:cubicBezTo>
                  <a:pt x="288" y="29"/>
                  <a:pt x="283" y="29"/>
                  <a:pt x="279" y="32"/>
                </a:cubicBezTo>
                <a:cubicBezTo>
                  <a:pt x="278" y="34"/>
                  <a:pt x="277" y="36"/>
                  <a:pt x="277" y="38"/>
                </a:cubicBezTo>
                <a:cubicBezTo>
                  <a:pt x="277" y="40"/>
                  <a:pt x="278" y="42"/>
                  <a:pt x="279" y="44"/>
                </a:cubicBezTo>
                <a:cubicBezTo>
                  <a:pt x="297" y="61"/>
                  <a:pt x="305" y="83"/>
                  <a:pt x="305" y="106"/>
                </a:cubicBezTo>
                <a:cubicBezTo>
                  <a:pt x="305" y="128"/>
                  <a:pt x="297" y="151"/>
                  <a:pt x="279" y="168"/>
                </a:cubicBezTo>
                <a:cubicBezTo>
                  <a:pt x="279" y="168"/>
                  <a:pt x="279" y="168"/>
                  <a:pt x="279" y="168"/>
                </a:cubicBezTo>
                <a:cubicBezTo>
                  <a:pt x="276" y="171"/>
                  <a:pt x="276" y="176"/>
                  <a:pt x="279" y="179"/>
                </a:cubicBezTo>
                <a:cubicBezTo>
                  <a:pt x="283" y="182"/>
                  <a:pt x="288" y="182"/>
                  <a:pt x="291" y="179"/>
                </a:cubicBezTo>
                <a:cubicBezTo>
                  <a:pt x="311" y="159"/>
                  <a:pt x="321" y="132"/>
                  <a:pt x="321" y="106"/>
                </a:cubicBezTo>
                <a:cubicBezTo>
                  <a:pt x="321" y="79"/>
                  <a:pt x="311" y="53"/>
                  <a:pt x="291" y="32"/>
                </a:cubicBezTo>
                <a:close/>
                <a:moveTo>
                  <a:pt x="353" y="53"/>
                </a:moveTo>
                <a:cubicBezTo>
                  <a:pt x="351" y="49"/>
                  <a:pt x="347" y="47"/>
                  <a:pt x="343" y="49"/>
                </a:cubicBezTo>
                <a:cubicBezTo>
                  <a:pt x="338" y="50"/>
                  <a:pt x="336" y="55"/>
                  <a:pt x="338" y="59"/>
                </a:cubicBezTo>
                <a:cubicBezTo>
                  <a:pt x="344" y="74"/>
                  <a:pt x="347" y="90"/>
                  <a:pt x="347" y="106"/>
                </a:cubicBezTo>
                <a:cubicBezTo>
                  <a:pt x="347" y="140"/>
                  <a:pt x="333" y="173"/>
                  <a:pt x="309" y="197"/>
                </a:cubicBezTo>
                <a:cubicBezTo>
                  <a:pt x="307" y="199"/>
                  <a:pt x="306" y="201"/>
                  <a:pt x="306" y="203"/>
                </a:cubicBezTo>
                <a:cubicBezTo>
                  <a:pt x="306" y="205"/>
                  <a:pt x="307" y="207"/>
                  <a:pt x="309" y="209"/>
                </a:cubicBezTo>
                <a:cubicBezTo>
                  <a:pt x="312" y="212"/>
                  <a:pt x="317" y="212"/>
                  <a:pt x="320" y="209"/>
                </a:cubicBezTo>
                <a:cubicBezTo>
                  <a:pt x="348" y="181"/>
                  <a:pt x="363" y="145"/>
                  <a:pt x="363" y="106"/>
                </a:cubicBezTo>
                <a:cubicBezTo>
                  <a:pt x="363" y="88"/>
                  <a:pt x="359" y="70"/>
                  <a:pt x="353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/>
          <a:lstStyle/>
          <a:p>
            <a:endParaRPr lang="en-US" dirty="0">
              <a:solidFill>
                <a:srgbClr val="58585A"/>
              </a:solidFill>
            </a:endParaRPr>
          </a:p>
        </p:txBody>
      </p:sp>
      <p:sp>
        <p:nvSpPr>
          <p:cNvPr id="32" name="Text Box 43">
            <a:extLst>
              <a:ext uri="{FF2B5EF4-FFF2-40B4-BE49-F238E27FC236}">
                <a16:creationId xmlns:a16="http://schemas.microsoft.com/office/drawing/2014/main" id="{394B1BD7-867F-4CE4-8F01-E0E3EB28DB66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8318319" y="2571517"/>
            <a:ext cx="1746518" cy="48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600" b="1" dirty="0">
                <a:solidFill>
                  <a:schemeClr val="bg1"/>
                </a:solidFill>
                <a:ea typeface="MS PGothic" pitchFamily="34" charset="-128"/>
              </a:rPr>
              <a:t>IoT </a:t>
            </a:r>
            <a:r>
              <a:rPr lang="hu-HU" altLang="en-US" sz="1600" b="1" dirty="0">
                <a:solidFill>
                  <a:schemeClr val="bg1"/>
                </a:solidFill>
                <a:ea typeface="MS PGothic" pitchFamily="34" charset="-128"/>
              </a:rPr>
              <a:t>Vállalati</a:t>
            </a:r>
            <a:br>
              <a:rPr lang="hu-HU" altLang="en-US" sz="1600" b="1" dirty="0">
                <a:solidFill>
                  <a:schemeClr val="bg1"/>
                </a:solidFill>
                <a:ea typeface="MS PGothic" pitchFamily="34" charset="-128"/>
              </a:rPr>
            </a:br>
            <a:r>
              <a:rPr lang="hu-HU" altLang="en-US" sz="1600" b="1" dirty="0">
                <a:solidFill>
                  <a:schemeClr val="bg1"/>
                </a:solidFill>
                <a:ea typeface="MS PGothic" pitchFamily="34" charset="-128"/>
              </a:rPr>
              <a:t>Szolgáltatások</a:t>
            </a:r>
            <a:endParaRPr lang="en-US" altLang="en-US" sz="1600" b="1" dirty="0">
              <a:solidFill>
                <a:schemeClr val="bg1"/>
              </a:solidFill>
              <a:ea typeface="MS PGothic" pitchFamily="34" charset="-128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DA4F1231-2259-4ED3-95ED-9C07C823A7CC}"/>
              </a:ext>
            </a:extLst>
          </p:cNvPr>
          <p:cNvGrpSpPr/>
          <p:nvPr/>
        </p:nvGrpSpPr>
        <p:grpSpPr>
          <a:xfrm>
            <a:off x="610754" y="3221939"/>
            <a:ext cx="1020299" cy="1549963"/>
            <a:chOff x="958237" y="2772465"/>
            <a:chExt cx="1020299" cy="1549963"/>
          </a:xfrm>
        </p:grpSpPr>
        <p:sp>
          <p:nvSpPr>
            <p:cNvPr id="9" name="Freeform 3">
              <a:extLst>
                <a:ext uri="{FF2B5EF4-FFF2-40B4-BE49-F238E27FC236}">
                  <a16:creationId xmlns:a16="http://schemas.microsoft.com/office/drawing/2014/main" id="{DF189BCE-82D3-463A-845B-D3A444309AB1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702088" y="2790483"/>
              <a:ext cx="276448" cy="381211"/>
            </a:xfrm>
            <a:custGeom>
              <a:avLst/>
              <a:gdLst>
                <a:gd name="T0" fmla="*/ 2147483647 w 349"/>
                <a:gd name="T1" fmla="*/ 2147483647 h 481"/>
                <a:gd name="T2" fmla="*/ 2147483647 w 349"/>
                <a:gd name="T3" fmla="*/ 2147483647 h 481"/>
                <a:gd name="T4" fmla="*/ 2147483647 w 349"/>
                <a:gd name="T5" fmla="*/ 2147483647 h 481"/>
                <a:gd name="T6" fmla="*/ 2147483647 w 349"/>
                <a:gd name="T7" fmla="*/ 2147483647 h 481"/>
                <a:gd name="T8" fmla="*/ 2147483647 w 349"/>
                <a:gd name="T9" fmla="*/ 2147483647 h 481"/>
                <a:gd name="T10" fmla="*/ 2147483647 w 349"/>
                <a:gd name="T11" fmla="*/ 2147483647 h 481"/>
                <a:gd name="T12" fmla="*/ 2147483647 w 349"/>
                <a:gd name="T13" fmla="*/ 2147483647 h 481"/>
                <a:gd name="T14" fmla="*/ 2147483647 w 349"/>
                <a:gd name="T15" fmla="*/ 0 h 481"/>
                <a:gd name="T16" fmla="*/ 2147483647 w 349"/>
                <a:gd name="T17" fmla="*/ 2147483647 h 481"/>
                <a:gd name="T18" fmla="*/ 2147483647 w 349"/>
                <a:gd name="T19" fmla="*/ 2147483647 h 481"/>
                <a:gd name="T20" fmla="*/ 0 w 349"/>
                <a:gd name="T21" fmla="*/ 2147483647 h 481"/>
                <a:gd name="T22" fmla="*/ 2147483647 w 349"/>
                <a:gd name="T23" fmla="*/ 2147483647 h 481"/>
                <a:gd name="T24" fmla="*/ 2147483647 w 349"/>
                <a:gd name="T25" fmla="*/ 2147483647 h 481"/>
                <a:gd name="T26" fmla="*/ 2147483647 w 349"/>
                <a:gd name="T27" fmla="*/ 2147483647 h 481"/>
                <a:gd name="T28" fmla="*/ 2147483647 w 349"/>
                <a:gd name="T29" fmla="*/ 2147483647 h 481"/>
                <a:gd name="T30" fmla="*/ 2147483647 w 349"/>
                <a:gd name="T31" fmla="*/ 2147483647 h 481"/>
                <a:gd name="T32" fmla="*/ 2147483647 w 349"/>
                <a:gd name="T33" fmla="*/ 2147483647 h 481"/>
                <a:gd name="T34" fmla="*/ 2147483647 w 349"/>
                <a:gd name="T35" fmla="*/ 2147483647 h 481"/>
                <a:gd name="T36" fmla="*/ 2147483647 w 349"/>
                <a:gd name="T37" fmla="*/ 2147483647 h 481"/>
                <a:gd name="T38" fmla="*/ 2147483647 w 349"/>
                <a:gd name="T39" fmla="*/ 2147483647 h 481"/>
                <a:gd name="T40" fmla="*/ 2147483647 w 349"/>
                <a:gd name="T41" fmla="*/ 2147483647 h 481"/>
                <a:gd name="T42" fmla="*/ 2147483647 w 349"/>
                <a:gd name="T43" fmla="*/ 2147483647 h 481"/>
                <a:gd name="T44" fmla="*/ 2147483647 w 349"/>
                <a:gd name="T45" fmla="*/ 2147483647 h 481"/>
                <a:gd name="T46" fmla="*/ 2147483647 w 349"/>
                <a:gd name="T47" fmla="*/ 2147483647 h 481"/>
                <a:gd name="T48" fmla="*/ 2147483647 w 349"/>
                <a:gd name="T49" fmla="*/ 2147483647 h 481"/>
                <a:gd name="T50" fmla="*/ 2147483647 w 349"/>
                <a:gd name="T51" fmla="*/ 2147483647 h 481"/>
                <a:gd name="T52" fmla="*/ 2147483647 w 349"/>
                <a:gd name="T53" fmla="*/ 2147483647 h 481"/>
                <a:gd name="T54" fmla="*/ 2147483647 w 349"/>
                <a:gd name="T55" fmla="*/ 2147483647 h 481"/>
                <a:gd name="T56" fmla="*/ 2147483647 w 349"/>
                <a:gd name="T57" fmla="*/ 2147483647 h 481"/>
                <a:gd name="T58" fmla="*/ 2147483647 w 349"/>
                <a:gd name="T59" fmla="*/ 2147483647 h 481"/>
                <a:gd name="T60" fmla="*/ 2147483647 w 349"/>
                <a:gd name="T61" fmla="*/ 2147483647 h 481"/>
                <a:gd name="T62" fmla="*/ 2147483647 w 349"/>
                <a:gd name="T63" fmla="*/ 2147483647 h 481"/>
                <a:gd name="T64" fmla="*/ 2147483647 w 349"/>
                <a:gd name="T65" fmla="*/ 2147483647 h 481"/>
                <a:gd name="T66" fmla="*/ 2147483647 w 349"/>
                <a:gd name="T67" fmla="*/ 2147483647 h 481"/>
                <a:gd name="T68" fmla="*/ 2147483647 w 349"/>
                <a:gd name="T69" fmla="*/ 2147483647 h 481"/>
                <a:gd name="T70" fmla="*/ 2147483647 w 349"/>
                <a:gd name="T71" fmla="*/ 2147483647 h 481"/>
                <a:gd name="T72" fmla="*/ 2147483647 w 349"/>
                <a:gd name="T73" fmla="*/ 2147483647 h 481"/>
                <a:gd name="T74" fmla="*/ 2147483647 w 349"/>
                <a:gd name="T75" fmla="*/ 2147483647 h 481"/>
                <a:gd name="T76" fmla="*/ 2147483647 w 349"/>
                <a:gd name="T77" fmla="*/ 2147483647 h 481"/>
                <a:gd name="T78" fmla="*/ 2147483647 w 349"/>
                <a:gd name="T79" fmla="*/ 2147483647 h 481"/>
                <a:gd name="T80" fmla="*/ 2147483647 w 349"/>
                <a:gd name="T81" fmla="*/ 2147483647 h 481"/>
                <a:gd name="T82" fmla="*/ 2147483647 w 349"/>
                <a:gd name="T83" fmla="*/ 2147483647 h 481"/>
                <a:gd name="T84" fmla="*/ 2147483647 w 349"/>
                <a:gd name="T85" fmla="*/ 2147483647 h 481"/>
                <a:gd name="T86" fmla="*/ 2147483647 w 349"/>
                <a:gd name="T87" fmla="*/ 2147483647 h 481"/>
                <a:gd name="T88" fmla="*/ 2147483647 w 349"/>
                <a:gd name="T89" fmla="*/ 2147483647 h 481"/>
                <a:gd name="T90" fmla="*/ 2147483647 w 349"/>
                <a:gd name="T91" fmla="*/ 2147483647 h 481"/>
                <a:gd name="T92" fmla="*/ 2147483647 w 349"/>
                <a:gd name="T93" fmla="*/ 2147483647 h 481"/>
                <a:gd name="T94" fmla="*/ 2147483647 w 349"/>
                <a:gd name="T95" fmla="*/ 2147483647 h 481"/>
                <a:gd name="T96" fmla="*/ 2147483647 w 349"/>
                <a:gd name="T97" fmla="*/ 2147483647 h 481"/>
                <a:gd name="T98" fmla="*/ 2147483647 w 349"/>
                <a:gd name="T99" fmla="*/ 2147483647 h 481"/>
                <a:gd name="T100" fmla="*/ 2147483647 w 349"/>
                <a:gd name="T101" fmla="*/ 2147483647 h 481"/>
                <a:gd name="T102" fmla="*/ 2147483647 w 349"/>
                <a:gd name="T103" fmla="*/ 2147483647 h 481"/>
                <a:gd name="T104" fmla="*/ 2147483647 w 349"/>
                <a:gd name="T105" fmla="*/ 2147483647 h 481"/>
                <a:gd name="T106" fmla="*/ 2147483647 w 349"/>
                <a:gd name="T107" fmla="*/ 2147483647 h 481"/>
                <a:gd name="T108" fmla="*/ 2147483647 w 349"/>
                <a:gd name="T109" fmla="*/ 2147483647 h 481"/>
                <a:gd name="T110" fmla="*/ 2147483647 w 349"/>
                <a:gd name="T111" fmla="*/ 2147483647 h 481"/>
                <a:gd name="T112" fmla="*/ 2147483647 w 349"/>
                <a:gd name="T113" fmla="*/ 2147483647 h 481"/>
                <a:gd name="T114" fmla="*/ 2147483647 w 349"/>
                <a:gd name="T115" fmla="*/ 2147483647 h 481"/>
                <a:gd name="T116" fmla="*/ 2147483647 w 349"/>
                <a:gd name="T117" fmla="*/ 2147483647 h 481"/>
                <a:gd name="T118" fmla="*/ 2147483647 w 349"/>
                <a:gd name="T119" fmla="*/ 2147483647 h 481"/>
                <a:gd name="T120" fmla="*/ 2147483647 w 349"/>
                <a:gd name="T121" fmla="*/ 2147483647 h 48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49"/>
                <a:gd name="T184" fmla="*/ 0 h 481"/>
                <a:gd name="T185" fmla="*/ 349 w 349"/>
                <a:gd name="T186" fmla="*/ 481 h 48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49" h="481">
                  <a:moveTo>
                    <a:pt x="175" y="444"/>
                  </a:moveTo>
                  <a:cubicBezTo>
                    <a:pt x="131" y="444"/>
                    <a:pt x="91" y="426"/>
                    <a:pt x="63" y="398"/>
                  </a:cubicBezTo>
                  <a:cubicBezTo>
                    <a:pt x="34" y="369"/>
                    <a:pt x="16" y="329"/>
                    <a:pt x="16" y="285"/>
                  </a:cubicBezTo>
                  <a:cubicBezTo>
                    <a:pt x="16" y="251"/>
                    <a:pt x="27" y="219"/>
                    <a:pt x="46" y="193"/>
                  </a:cubicBezTo>
                  <a:cubicBezTo>
                    <a:pt x="62" y="206"/>
                    <a:pt x="82" y="212"/>
                    <a:pt x="102" y="212"/>
                  </a:cubicBezTo>
                  <a:cubicBezTo>
                    <a:pt x="102" y="212"/>
                    <a:pt x="102" y="212"/>
                    <a:pt x="102" y="212"/>
                  </a:cubicBezTo>
                  <a:cubicBezTo>
                    <a:pt x="124" y="212"/>
                    <a:pt x="147" y="204"/>
                    <a:pt x="164" y="187"/>
                  </a:cubicBezTo>
                  <a:cubicBezTo>
                    <a:pt x="184" y="166"/>
                    <a:pt x="184" y="166"/>
                    <a:pt x="184" y="166"/>
                  </a:cubicBezTo>
                  <a:cubicBezTo>
                    <a:pt x="187" y="163"/>
                    <a:pt x="189" y="159"/>
                    <a:pt x="189" y="155"/>
                  </a:cubicBezTo>
                  <a:cubicBezTo>
                    <a:pt x="189" y="151"/>
                    <a:pt x="187" y="147"/>
                    <a:pt x="184" y="144"/>
                  </a:cubicBezTo>
                  <a:cubicBezTo>
                    <a:pt x="172" y="132"/>
                    <a:pt x="172" y="132"/>
                    <a:pt x="172" y="132"/>
                  </a:cubicBezTo>
                  <a:cubicBezTo>
                    <a:pt x="221" y="83"/>
                    <a:pt x="221" y="83"/>
                    <a:pt x="221" y="83"/>
                  </a:cubicBezTo>
                  <a:cubicBezTo>
                    <a:pt x="224" y="80"/>
                    <a:pt x="226" y="76"/>
                    <a:pt x="226" y="72"/>
                  </a:cubicBezTo>
                  <a:cubicBezTo>
                    <a:pt x="226" y="67"/>
                    <a:pt x="224" y="63"/>
                    <a:pt x="221" y="60"/>
                  </a:cubicBezTo>
                  <a:cubicBezTo>
                    <a:pt x="216" y="55"/>
                    <a:pt x="216" y="55"/>
                    <a:pt x="216" y="55"/>
                  </a:cubicBezTo>
                  <a:cubicBezTo>
                    <a:pt x="213" y="52"/>
                    <a:pt x="208" y="50"/>
                    <a:pt x="204" y="50"/>
                  </a:cubicBezTo>
                  <a:cubicBezTo>
                    <a:pt x="200" y="50"/>
                    <a:pt x="196" y="52"/>
                    <a:pt x="193" y="55"/>
                  </a:cubicBezTo>
                  <a:cubicBezTo>
                    <a:pt x="144" y="104"/>
                    <a:pt x="144" y="104"/>
                    <a:pt x="144" y="104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71" y="33"/>
                    <a:pt x="171" y="33"/>
                    <a:pt x="171" y="33"/>
                  </a:cubicBezTo>
                  <a:cubicBezTo>
                    <a:pt x="174" y="30"/>
                    <a:pt x="176" y="26"/>
                    <a:pt x="176" y="22"/>
                  </a:cubicBezTo>
                  <a:cubicBezTo>
                    <a:pt x="176" y="18"/>
                    <a:pt x="174" y="13"/>
                    <a:pt x="171" y="10"/>
                  </a:cubicBezTo>
                  <a:cubicBezTo>
                    <a:pt x="166" y="5"/>
                    <a:pt x="166" y="5"/>
                    <a:pt x="166" y="5"/>
                  </a:cubicBezTo>
                  <a:cubicBezTo>
                    <a:pt x="163" y="2"/>
                    <a:pt x="159" y="0"/>
                    <a:pt x="154" y="0"/>
                  </a:cubicBezTo>
                  <a:cubicBezTo>
                    <a:pt x="150" y="0"/>
                    <a:pt x="146" y="2"/>
                    <a:pt x="143" y="5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83" y="42"/>
                    <a:pt x="83" y="42"/>
                    <a:pt x="83" y="42"/>
                  </a:cubicBezTo>
                  <a:cubicBezTo>
                    <a:pt x="79" y="39"/>
                    <a:pt x="75" y="37"/>
                    <a:pt x="71" y="37"/>
                  </a:cubicBezTo>
                  <a:cubicBezTo>
                    <a:pt x="67" y="37"/>
                    <a:pt x="63" y="39"/>
                    <a:pt x="60" y="4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22" y="79"/>
                    <a:pt x="14" y="102"/>
                    <a:pt x="14" y="124"/>
                  </a:cubicBezTo>
                  <a:cubicBezTo>
                    <a:pt x="14" y="145"/>
                    <a:pt x="21" y="165"/>
                    <a:pt x="35" y="181"/>
                  </a:cubicBezTo>
                  <a:cubicBezTo>
                    <a:pt x="13" y="210"/>
                    <a:pt x="0" y="246"/>
                    <a:pt x="0" y="285"/>
                  </a:cubicBezTo>
                  <a:cubicBezTo>
                    <a:pt x="0" y="382"/>
                    <a:pt x="78" y="460"/>
                    <a:pt x="175" y="460"/>
                  </a:cubicBezTo>
                  <a:cubicBezTo>
                    <a:pt x="179" y="460"/>
                    <a:pt x="183" y="456"/>
                    <a:pt x="183" y="452"/>
                  </a:cubicBezTo>
                  <a:cubicBezTo>
                    <a:pt x="183" y="448"/>
                    <a:pt x="179" y="444"/>
                    <a:pt x="175" y="444"/>
                  </a:cubicBezTo>
                  <a:close/>
                  <a:moveTo>
                    <a:pt x="204" y="66"/>
                  </a:moveTo>
                  <a:cubicBezTo>
                    <a:pt x="204" y="66"/>
                    <a:pt x="204" y="66"/>
                    <a:pt x="204" y="66"/>
                  </a:cubicBezTo>
                  <a:cubicBezTo>
                    <a:pt x="204" y="66"/>
                    <a:pt x="204" y="66"/>
                    <a:pt x="204" y="66"/>
                  </a:cubicBezTo>
                  <a:cubicBezTo>
                    <a:pt x="210" y="71"/>
                    <a:pt x="210" y="71"/>
                    <a:pt x="210" y="71"/>
                  </a:cubicBezTo>
                  <a:cubicBezTo>
                    <a:pt x="210" y="72"/>
                    <a:pt x="210" y="72"/>
                    <a:pt x="210" y="72"/>
                  </a:cubicBezTo>
                  <a:cubicBezTo>
                    <a:pt x="210" y="72"/>
                    <a:pt x="210" y="72"/>
                    <a:pt x="210" y="72"/>
                  </a:cubicBezTo>
                  <a:cubicBezTo>
                    <a:pt x="161" y="121"/>
                    <a:pt x="161" y="121"/>
                    <a:pt x="161" y="121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55" y="115"/>
                    <a:pt x="155" y="115"/>
                    <a:pt x="155" y="115"/>
                  </a:cubicBezTo>
                  <a:lnTo>
                    <a:pt x="204" y="66"/>
                  </a:lnTo>
                  <a:close/>
                  <a:moveTo>
                    <a:pt x="154" y="16"/>
                  </a:moveTo>
                  <a:cubicBezTo>
                    <a:pt x="154" y="16"/>
                    <a:pt x="154" y="16"/>
                    <a:pt x="154" y="16"/>
                  </a:cubicBezTo>
                  <a:cubicBezTo>
                    <a:pt x="154" y="16"/>
                    <a:pt x="154" y="16"/>
                    <a:pt x="155" y="16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05" y="65"/>
                    <a:pt x="105" y="65"/>
                    <a:pt x="105" y="65"/>
                  </a:cubicBezTo>
                  <a:lnTo>
                    <a:pt x="154" y="16"/>
                  </a:lnTo>
                  <a:close/>
                  <a:moveTo>
                    <a:pt x="30" y="124"/>
                  </a:moveTo>
                  <a:cubicBezTo>
                    <a:pt x="30" y="106"/>
                    <a:pt x="37" y="88"/>
                    <a:pt x="51" y="7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3"/>
                    <a:pt x="71" y="53"/>
                    <a:pt x="71" y="53"/>
                  </a:cubicBezTo>
                  <a:cubicBezTo>
                    <a:pt x="71" y="53"/>
                    <a:pt x="71" y="53"/>
                    <a:pt x="71" y="54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91" y="74"/>
                    <a:pt x="91" y="74"/>
                    <a:pt x="91" y="74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38" y="121"/>
                    <a:pt x="138" y="121"/>
                    <a:pt x="138" y="121"/>
                  </a:cubicBezTo>
                  <a:cubicBezTo>
                    <a:pt x="146" y="128"/>
                    <a:pt x="146" y="128"/>
                    <a:pt x="146" y="128"/>
                  </a:cubicBezTo>
                  <a:cubicBezTo>
                    <a:pt x="173" y="155"/>
                    <a:pt x="173" y="155"/>
                    <a:pt x="173" y="155"/>
                  </a:cubicBezTo>
                  <a:cubicBezTo>
                    <a:pt x="173" y="155"/>
                    <a:pt x="173" y="155"/>
                    <a:pt x="173" y="155"/>
                  </a:cubicBezTo>
                  <a:cubicBezTo>
                    <a:pt x="173" y="155"/>
                    <a:pt x="173" y="155"/>
                    <a:pt x="173" y="155"/>
                  </a:cubicBezTo>
                  <a:cubicBezTo>
                    <a:pt x="152" y="175"/>
                    <a:pt x="152" y="175"/>
                    <a:pt x="152" y="175"/>
                  </a:cubicBezTo>
                  <a:cubicBezTo>
                    <a:pt x="138" y="189"/>
                    <a:pt x="120" y="196"/>
                    <a:pt x="102" y="196"/>
                  </a:cubicBezTo>
                  <a:cubicBezTo>
                    <a:pt x="83" y="196"/>
                    <a:pt x="65" y="189"/>
                    <a:pt x="51" y="175"/>
                  </a:cubicBezTo>
                  <a:cubicBezTo>
                    <a:pt x="37" y="161"/>
                    <a:pt x="30" y="143"/>
                    <a:pt x="30" y="124"/>
                  </a:cubicBezTo>
                  <a:close/>
                  <a:moveTo>
                    <a:pt x="59" y="359"/>
                  </a:moveTo>
                  <a:cubicBezTo>
                    <a:pt x="59" y="363"/>
                    <a:pt x="63" y="367"/>
                    <a:pt x="67" y="367"/>
                  </a:cubicBezTo>
                  <a:cubicBezTo>
                    <a:pt x="282" y="367"/>
                    <a:pt x="282" y="367"/>
                    <a:pt x="282" y="367"/>
                  </a:cubicBezTo>
                  <a:cubicBezTo>
                    <a:pt x="286" y="367"/>
                    <a:pt x="290" y="363"/>
                    <a:pt x="290" y="359"/>
                  </a:cubicBezTo>
                  <a:cubicBezTo>
                    <a:pt x="290" y="354"/>
                    <a:pt x="286" y="351"/>
                    <a:pt x="282" y="351"/>
                  </a:cubicBezTo>
                  <a:cubicBezTo>
                    <a:pt x="67" y="351"/>
                    <a:pt x="67" y="351"/>
                    <a:pt x="67" y="351"/>
                  </a:cubicBezTo>
                  <a:cubicBezTo>
                    <a:pt x="63" y="351"/>
                    <a:pt x="59" y="354"/>
                    <a:pt x="59" y="359"/>
                  </a:cubicBezTo>
                  <a:close/>
                  <a:moveTo>
                    <a:pt x="349" y="286"/>
                  </a:moveTo>
                  <a:cubicBezTo>
                    <a:pt x="349" y="275"/>
                    <a:pt x="348" y="264"/>
                    <a:pt x="346" y="253"/>
                  </a:cubicBezTo>
                  <a:cubicBezTo>
                    <a:pt x="332" y="180"/>
                    <a:pt x="275" y="127"/>
                    <a:pt x="207" y="114"/>
                  </a:cubicBezTo>
                  <a:cubicBezTo>
                    <a:pt x="203" y="113"/>
                    <a:pt x="199" y="116"/>
                    <a:pt x="198" y="121"/>
                  </a:cubicBezTo>
                  <a:cubicBezTo>
                    <a:pt x="197" y="125"/>
                    <a:pt x="200" y="129"/>
                    <a:pt x="204" y="130"/>
                  </a:cubicBezTo>
                  <a:cubicBezTo>
                    <a:pt x="266" y="142"/>
                    <a:pt x="317" y="190"/>
                    <a:pt x="330" y="256"/>
                  </a:cubicBezTo>
                  <a:cubicBezTo>
                    <a:pt x="332" y="266"/>
                    <a:pt x="333" y="276"/>
                    <a:pt x="333" y="286"/>
                  </a:cubicBezTo>
                  <a:cubicBezTo>
                    <a:pt x="333" y="353"/>
                    <a:pt x="289" y="414"/>
                    <a:pt x="224" y="436"/>
                  </a:cubicBezTo>
                  <a:cubicBezTo>
                    <a:pt x="237" y="418"/>
                    <a:pt x="237" y="418"/>
                    <a:pt x="237" y="418"/>
                  </a:cubicBezTo>
                  <a:cubicBezTo>
                    <a:pt x="239" y="414"/>
                    <a:pt x="238" y="409"/>
                    <a:pt x="234" y="407"/>
                  </a:cubicBezTo>
                  <a:cubicBezTo>
                    <a:pt x="231" y="404"/>
                    <a:pt x="226" y="405"/>
                    <a:pt x="223" y="409"/>
                  </a:cubicBezTo>
                  <a:cubicBezTo>
                    <a:pt x="199" y="444"/>
                    <a:pt x="199" y="444"/>
                    <a:pt x="199" y="444"/>
                  </a:cubicBezTo>
                  <a:cubicBezTo>
                    <a:pt x="199" y="445"/>
                    <a:pt x="199" y="445"/>
                    <a:pt x="198" y="446"/>
                  </a:cubicBezTo>
                  <a:cubicBezTo>
                    <a:pt x="198" y="446"/>
                    <a:pt x="198" y="446"/>
                    <a:pt x="198" y="446"/>
                  </a:cubicBezTo>
                  <a:cubicBezTo>
                    <a:pt x="198" y="447"/>
                    <a:pt x="198" y="447"/>
                    <a:pt x="198" y="447"/>
                  </a:cubicBezTo>
                  <a:cubicBezTo>
                    <a:pt x="198" y="448"/>
                    <a:pt x="198" y="448"/>
                    <a:pt x="198" y="448"/>
                  </a:cubicBezTo>
                  <a:cubicBezTo>
                    <a:pt x="198" y="448"/>
                    <a:pt x="198" y="449"/>
                    <a:pt x="198" y="449"/>
                  </a:cubicBezTo>
                  <a:cubicBezTo>
                    <a:pt x="198" y="450"/>
                    <a:pt x="198" y="450"/>
                    <a:pt x="198" y="451"/>
                  </a:cubicBezTo>
                  <a:cubicBezTo>
                    <a:pt x="198" y="451"/>
                    <a:pt x="198" y="452"/>
                    <a:pt x="198" y="452"/>
                  </a:cubicBezTo>
                  <a:cubicBezTo>
                    <a:pt x="198" y="452"/>
                    <a:pt x="198" y="452"/>
                    <a:pt x="199" y="452"/>
                  </a:cubicBezTo>
                  <a:cubicBezTo>
                    <a:pt x="199" y="453"/>
                    <a:pt x="199" y="453"/>
                    <a:pt x="199" y="453"/>
                  </a:cubicBezTo>
                  <a:cubicBezTo>
                    <a:pt x="199" y="453"/>
                    <a:pt x="199" y="454"/>
                    <a:pt x="199" y="454"/>
                  </a:cubicBezTo>
                  <a:cubicBezTo>
                    <a:pt x="200" y="454"/>
                    <a:pt x="200" y="454"/>
                    <a:pt x="200" y="454"/>
                  </a:cubicBezTo>
                  <a:cubicBezTo>
                    <a:pt x="200" y="455"/>
                    <a:pt x="200" y="455"/>
                    <a:pt x="200" y="455"/>
                  </a:cubicBezTo>
                  <a:cubicBezTo>
                    <a:pt x="201" y="455"/>
                    <a:pt x="201" y="455"/>
                    <a:pt x="201" y="455"/>
                  </a:cubicBezTo>
                  <a:cubicBezTo>
                    <a:pt x="201" y="456"/>
                    <a:pt x="201" y="456"/>
                    <a:pt x="201" y="456"/>
                  </a:cubicBezTo>
                  <a:cubicBezTo>
                    <a:pt x="237" y="480"/>
                    <a:pt x="237" y="480"/>
                    <a:pt x="237" y="480"/>
                  </a:cubicBezTo>
                  <a:cubicBezTo>
                    <a:pt x="238" y="481"/>
                    <a:pt x="240" y="481"/>
                    <a:pt x="241" y="481"/>
                  </a:cubicBezTo>
                  <a:cubicBezTo>
                    <a:pt x="244" y="481"/>
                    <a:pt x="246" y="480"/>
                    <a:pt x="248" y="478"/>
                  </a:cubicBezTo>
                  <a:cubicBezTo>
                    <a:pt x="251" y="474"/>
                    <a:pt x="250" y="469"/>
                    <a:pt x="246" y="466"/>
                  </a:cubicBezTo>
                  <a:cubicBezTo>
                    <a:pt x="246" y="466"/>
                    <a:pt x="246" y="466"/>
                    <a:pt x="246" y="466"/>
                  </a:cubicBezTo>
                  <a:cubicBezTo>
                    <a:pt x="225" y="452"/>
                    <a:pt x="225" y="452"/>
                    <a:pt x="225" y="452"/>
                  </a:cubicBezTo>
                  <a:cubicBezTo>
                    <a:pt x="299" y="430"/>
                    <a:pt x="349" y="362"/>
                    <a:pt x="349" y="286"/>
                  </a:cubicBezTo>
                  <a:close/>
                  <a:moveTo>
                    <a:pt x="198" y="241"/>
                  </a:moveTo>
                  <a:cubicBezTo>
                    <a:pt x="150" y="241"/>
                    <a:pt x="150" y="241"/>
                    <a:pt x="150" y="241"/>
                  </a:cubicBezTo>
                  <a:cubicBezTo>
                    <a:pt x="145" y="241"/>
                    <a:pt x="141" y="245"/>
                    <a:pt x="141" y="250"/>
                  </a:cubicBezTo>
                  <a:cubicBezTo>
                    <a:pt x="141" y="326"/>
                    <a:pt x="141" y="326"/>
                    <a:pt x="141" y="326"/>
                  </a:cubicBezTo>
                  <a:cubicBezTo>
                    <a:pt x="141" y="331"/>
                    <a:pt x="145" y="335"/>
                    <a:pt x="150" y="335"/>
                  </a:cubicBezTo>
                  <a:cubicBezTo>
                    <a:pt x="198" y="335"/>
                    <a:pt x="198" y="335"/>
                    <a:pt x="198" y="335"/>
                  </a:cubicBezTo>
                  <a:cubicBezTo>
                    <a:pt x="203" y="335"/>
                    <a:pt x="208" y="331"/>
                    <a:pt x="208" y="326"/>
                  </a:cubicBezTo>
                  <a:cubicBezTo>
                    <a:pt x="208" y="250"/>
                    <a:pt x="208" y="250"/>
                    <a:pt x="208" y="250"/>
                  </a:cubicBezTo>
                  <a:cubicBezTo>
                    <a:pt x="208" y="245"/>
                    <a:pt x="203" y="241"/>
                    <a:pt x="198" y="241"/>
                  </a:cubicBezTo>
                  <a:close/>
                  <a:moveTo>
                    <a:pt x="192" y="320"/>
                  </a:moveTo>
                  <a:cubicBezTo>
                    <a:pt x="161" y="320"/>
                    <a:pt x="161" y="320"/>
                    <a:pt x="161" y="320"/>
                  </a:cubicBezTo>
                  <a:cubicBezTo>
                    <a:pt x="158" y="320"/>
                    <a:pt x="156" y="318"/>
                    <a:pt x="156" y="315"/>
                  </a:cubicBezTo>
                  <a:cubicBezTo>
                    <a:pt x="156" y="308"/>
                    <a:pt x="160" y="302"/>
                    <a:pt x="169" y="296"/>
                  </a:cubicBezTo>
                  <a:cubicBezTo>
                    <a:pt x="183" y="285"/>
                    <a:pt x="187" y="283"/>
                    <a:pt x="187" y="276"/>
                  </a:cubicBezTo>
                  <a:cubicBezTo>
                    <a:pt x="187" y="271"/>
                    <a:pt x="184" y="265"/>
                    <a:pt x="175" y="265"/>
                  </a:cubicBezTo>
                  <a:cubicBezTo>
                    <a:pt x="169" y="265"/>
                    <a:pt x="164" y="268"/>
                    <a:pt x="162" y="272"/>
                  </a:cubicBezTo>
                  <a:cubicBezTo>
                    <a:pt x="161" y="272"/>
                    <a:pt x="161" y="273"/>
                    <a:pt x="160" y="273"/>
                  </a:cubicBezTo>
                  <a:cubicBezTo>
                    <a:pt x="158" y="274"/>
                    <a:pt x="157" y="273"/>
                    <a:pt x="156" y="271"/>
                  </a:cubicBezTo>
                  <a:cubicBezTo>
                    <a:pt x="156" y="270"/>
                    <a:pt x="156" y="269"/>
                    <a:pt x="157" y="269"/>
                  </a:cubicBezTo>
                  <a:cubicBezTo>
                    <a:pt x="160" y="264"/>
                    <a:pt x="166" y="260"/>
                    <a:pt x="175" y="260"/>
                  </a:cubicBezTo>
                  <a:cubicBezTo>
                    <a:pt x="187" y="260"/>
                    <a:pt x="193" y="267"/>
                    <a:pt x="193" y="276"/>
                  </a:cubicBezTo>
                  <a:cubicBezTo>
                    <a:pt x="193" y="285"/>
                    <a:pt x="188" y="289"/>
                    <a:pt x="175" y="299"/>
                  </a:cubicBezTo>
                  <a:cubicBezTo>
                    <a:pt x="166" y="305"/>
                    <a:pt x="162" y="309"/>
                    <a:pt x="162" y="314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193" y="314"/>
                    <a:pt x="195" y="315"/>
                    <a:pt x="195" y="317"/>
                  </a:cubicBezTo>
                  <a:cubicBezTo>
                    <a:pt x="195" y="319"/>
                    <a:pt x="193" y="320"/>
                    <a:pt x="192" y="320"/>
                  </a:cubicBezTo>
                  <a:close/>
                  <a:moveTo>
                    <a:pt x="278" y="335"/>
                  </a:moveTo>
                  <a:cubicBezTo>
                    <a:pt x="283" y="335"/>
                    <a:pt x="288" y="331"/>
                    <a:pt x="288" y="326"/>
                  </a:cubicBezTo>
                  <a:cubicBezTo>
                    <a:pt x="288" y="250"/>
                    <a:pt x="288" y="250"/>
                    <a:pt x="288" y="250"/>
                  </a:cubicBezTo>
                  <a:cubicBezTo>
                    <a:pt x="288" y="245"/>
                    <a:pt x="283" y="241"/>
                    <a:pt x="278" y="241"/>
                  </a:cubicBezTo>
                  <a:cubicBezTo>
                    <a:pt x="230" y="241"/>
                    <a:pt x="230" y="241"/>
                    <a:pt x="230" y="241"/>
                  </a:cubicBezTo>
                  <a:cubicBezTo>
                    <a:pt x="225" y="241"/>
                    <a:pt x="221" y="245"/>
                    <a:pt x="221" y="250"/>
                  </a:cubicBezTo>
                  <a:cubicBezTo>
                    <a:pt x="221" y="326"/>
                    <a:pt x="221" y="326"/>
                    <a:pt x="221" y="326"/>
                  </a:cubicBezTo>
                  <a:cubicBezTo>
                    <a:pt x="221" y="331"/>
                    <a:pt x="225" y="335"/>
                    <a:pt x="230" y="335"/>
                  </a:cubicBezTo>
                  <a:lnTo>
                    <a:pt x="278" y="335"/>
                  </a:lnTo>
                  <a:close/>
                  <a:moveTo>
                    <a:pt x="239" y="260"/>
                  </a:moveTo>
                  <a:cubicBezTo>
                    <a:pt x="267" y="260"/>
                    <a:pt x="267" y="260"/>
                    <a:pt x="267" y="260"/>
                  </a:cubicBezTo>
                  <a:cubicBezTo>
                    <a:pt x="269" y="260"/>
                    <a:pt x="271" y="262"/>
                    <a:pt x="271" y="265"/>
                  </a:cubicBezTo>
                  <a:cubicBezTo>
                    <a:pt x="271" y="266"/>
                    <a:pt x="271" y="267"/>
                    <a:pt x="270" y="268"/>
                  </a:cubicBezTo>
                  <a:cubicBezTo>
                    <a:pt x="257" y="282"/>
                    <a:pt x="257" y="282"/>
                    <a:pt x="257" y="282"/>
                  </a:cubicBezTo>
                  <a:cubicBezTo>
                    <a:pt x="267" y="282"/>
                    <a:pt x="275" y="289"/>
                    <a:pt x="275" y="298"/>
                  </a:cubicBezTo>
                  <a:cubicBezTo>
                    <a:pt x="275" y="313"/>
                    <a:pt x="261" y="321"/>
                    <a:pt x="239" y="320"/>
                  </a:cubicBezTo>
                  <a:cubicBezTo>
                    <a:pt x="237" y="320"/>
                    <a:pt x="236" y="319"/>
                    <a:pt x="236" y="317"/>
                  </a:cubicBezTo>
                  <a:cubicBezTo>
                    <a:pt x="236" y="316"/>
                    <a:pt x="237" y="314"/>
                    <a:pt x="239" y="314"/>
                  </a:cubicBezTo>
                  <a:cubicBezTo>
                    <a:pt x="257" y="316"/>
                    <a:pt x="269" y="310"/>
                    <a:pt x="269" y="299"/>
                  </a:cubicBezTo>
                  <a:cubicBezTo>
                    <a:pt x="269" y="292"/>
                    <a:pt x="264" y="288"/>
                    <a:pt x="257" y="288"/>
                  </a:cubicBezTo>
                  <a:cubicBezTo>
                    <a:pt x="253" y="288"/>
                    <a:pt x="252" y="288"/>
                    <a:pt x="251" y="288"/>
                  </a:cubicBezTo>
                  <a:cubicBezTo>
                    <a:pt x="249" y="288"/>
                    <a:pt x="248" y="287"/>
                    <a:pt x="248" y="285"/>
                  </a:cubicBezTo>
                  <a:cubicBezTo>
                    <a:pt x="248" y="285"/>
                    <a:pt x="248" y="284"/>
                    <a:pt x="249" y="283"/>
                  </a:cubicBezTo>
                  <a:cubicBezTo>
                    <a:pt x="264" y="266"/>
                    <a:pt x="264" y="266"/>
                    <a:pt x="264" y="266"/>
                  </a:cubicBezTo>
                  <a:cubicBezTo>
                    <a:pt x="239" y="266"/>
                    <a:pt x="239" y="266"/>
                    <a:pt x="239" y="266"/>
                  </a:cubicBezTo>
                  <a:cubicBezTo>
                    <a:pt x="237" y="266"/>
                    <a:pt x="236" y="265"/>
                    <a:pt x="236" y="263"/>
                  </a:cubicBezTo>
                  <a:cubicBezTo>
                    <a:pt x="236" y="262"/>
                    <a:pt x="237" y="260"/>
                    <a:pt x="239" y="260"/>
                  </a:cubicBezTo>
                  <a:close/>
                  <a:moveTo>
                    <a:pt x="71" y="335"/>
                  </a:moveTo>
                  <a:cubicBezTo>
                    <a:pt x="118" y="335"/>
                    <a:pt x="118" y="335"/>
                    <a:pt x="118" y="335"/>
                  </a:cubicBezTo>
                  <a:cubicBezTo>
                    <a:pt x="124" y="335"/>
                    <a:pt x="128" y="331"/>
                    <a:pt x="128" y="326"/>
                  </a:cubicBezTo>
                  <a:cubicBezTo>
                    <a:pt x="128" y="250"/>
                    <a:pt x="128" y="250"/>
                    <a:pt x="128" y="250"/>
                  </a:cubicBezTo>
                  <a:cubicBezTo>
                    <a:pt x="128" y="245"/>
                    <a:pt x="124" y="241"/>
                    <a:pt x="118" y="241"/>
                  </a:cubicBezTo>
                  <a:cubicBezTo>
                    <a:pt x="71" y="241"/>
                    <a:pt x="71" y="241"/>
                    <a:pt x="71" y="241"/>
                  </a:cubicBezTo>
                  <a:cubicBezTo>
                    <a:pt x="65" y="241"/>
                    <a:pt x="61" y="245"/>
                    <a:pt x="61" y="250"/>
                  </a:cubicBezTo>
                  <a:cubicBezTo>
                    <a:pt x="61" y="326"/>
                    <a:pt x="61" y="326"/>
                    <a:pt x="61" y="326"/>
                  </a:cubicBezTo>
                  <a:cubicBezTo>
                    <a:pt x="61" y="331"/>
                    <a:pt x="65" y="335"/>
                    <a:pt x="71" y="335"/>
                  </a:cubicBezTo>
                  <a:close/>
                  <a:moveTo>
                    <a:pt x="81" y="269"/>
                  </a:moveTo>
                  <a:cubicBezTo>
                    <a:pt x="96" y="261"/>
                    <a:pt x="96" y="261"/>
                    <a:pt x="96" y="261"/>
                  </a:cubicBezTo>
                  <a:cubicBezTo>
                    <a:pt x="97" y="261"/>
                    <a:pt x="97" y="260"/>
                    <a:pt x="98" y="260"/>
                  </a:cubicBezTo>
                  <a:cubicBezTo>
                    <a:pt x="99" y="260"/>
                    <a:pt x="101" y="262"/>
                    <a:pt x="101" y="263"/>
                  </a:cubicBezTo>
                  <a:cubicBezTo>
                    <a:pt x="101" y="317"/>
                    <a:pt x="101" y="317"/>
                    <a:pt x="101" y="317"/>
                  </a:cubicBezTo>
                  <a:cubicBezTo>
                    <a:pt x="101" y="318"/>
                    <a:pt x="99" y="320"/>
                    <a:pt x="98" y="320"/>
                  </a:cubicBezTo>
                  <a:cubicBezTo>
                    <a:pt x="96" y="320"/>
                    <a:pt x="95" y="318"/>
                    <a:pt x="95" y="317"/>
                  </a:cubicBezTo>
                  <a:cubicBezTo>
                    <a:pt x="95" y="269"/>
                    <a:pt x="95" y="269"/>
                    <a:pt x="95" y="269"/>
                  </a:cubicBezTo>
                  <a:cubicBezTo>
                    <a:pt x="84" y="275"/>
                    <a:pt x="84" y="275"/>
                    <a:pt x="84" y="275"/>
                  </a:cubicBezTo>
                  <a:cubicBezTo>
                    <a:pt x="82" y="275"/>
                    <a:pt x="81" y="275"/>
                    <a:pt x="80" y="274"/>
                  </a:cubicBezTo>
                  <a:cubicBezTo>
                    <a:pt x="79" y="272"/>
                    <a:pt x="80" y="270"/>
                    <a:pt x="81" y="269"/>
                  </a:cubicBezTo>
                  <a:close/>
                </a:path>
              </a:pathLst>
            </a:custGeom>
            <a:solidFill>
              <a:srgbClr val="00A9D4"/>
            </a:solidFill>
            <a:ln>
              <a:noFill/>
            </a:ln>
            <a:extLst/>
          </p:spPr>
          <p:txBody>
            <a:bodyPr/>
            <a:lstStyle/>
            <a:p>
              <a:endParaRPr lang="en-US" sz="1800">
                <a:solidFill>
                  <a:srgbClr val="58585A"/>
                </a:solidFill>
              </a:endParaRPr>
            </a:p>
          </p:txBody>
        </p:sp>
        <p:sp>
          <p:nvSpPr>
            <p:cNvPr id="30" name="Freeform 3">
              <a:extLst>
                <a:ext uri="{FF2B5EF4-FFF2-40B4-BE49-F238E27FC236}">
                  <a16:creationId xmlns:a16="http://schemas.microsoft.com/office/drawing/2014/main" id="{1A67ACDF-3EFB-4BC7-9583-8FA41EC9DBF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83588" y="2772465"/>
              <a:ext cx="284555" cy="396585"/>
            </a:xfrm>
            <a:custGeom>
              <a:avLst/>
              <a:gdLst>
                <a:gd name="T0" fmla="*/ 2147483647 w 378"/>
                <a:gd name="T1" fmla="*/ 2147483647 h 395"/>
                <a:gd name="T2" fmla="*/ 2147483647 w 378"/>
                <a:gd name="T3" fmla="*/ 2147483647 h 395"/>
                <a:gd name="T4" fmla="*/ 2147483647 w 378"/>
                <a:gd name="T5" fmla="*/ 2147483647 h 395"/>
                <a:gd name="T6" fmla="*/ 2147483647 w 378"/>
                <a:gd name="T7" fmla="*/ 2147483647 h 395"/>
                <a:gd name="T8" fmla="*/ 2147483647 w 378"/>
                <a:gd name="T9" fmla="*/ 2147483647 h 395"/>
                <a:gd name="T10" fmla="*/ 2147483647 w 378"/>
                <a:gd name="T11" fmla="*/ 2147483647 h 395"/>
                <a:gd name="T12" fmla="*/ 2147483647 w 378"/>
                <a:gd name="T13" fmla="*/ 2147483647 h 395"/>
                <a:gd name="T14" fmla="*/ 2147483647 w 378"/>
                <a:gd name="T15" fmla="*/ 2147483647 h 395"/>
                <a:gd name="T16" fmla="*/ 2147483647 w 378"/>
                <a:gd name="T17" fmla="*/ 2147483647 h 395"/>
                <a:gd name="T18" fmla="*/ 2147483647 w 378"/>
                <a:gd name="T19" fmla="*/ 2147483647 h 395"/>
                <a:gd name="T20" fmla="*/ 2147483647 w 378"/>
                <a:gd name="T21" fmla="*/ 2147483647 h 395"/>
                <a:gd name="T22" fmla="*/ 2147483647 w 378"/>
                <a:gd name="T23" fmla="*/ 2147483647 h 395"/>
                <a:gd name="T24" fmla="*/ 2147483647 w 378"/>
                <a:gd name="T25" fmla="*/ 2147483647 h 395"/>
                <a:gd name="T26" fmla="*/ 2147483647 w 378"/>
                <a:gd name="T27" fmla="*/ 2147483647 h 395"/>
                <a:gd name="T28" fmla="*/ 2147483647 w 378"/>
                <a:gd name="T29" fmla="*/ 2147483647 h 395"/>
                <a:gd name="T30" fmla="*/ 2147483647 w 378"/>
                <a:gd name="T31" fmla="*/ 2147483647 h 395"/>
                <a:gd name="T32" fmla="*/ 2147483647 w 378"/>
                <a:gd name="T33" fmla="*/ 2147483647 h 395"/>
                <a:gd name="T34" fmla="*/ 2147483647 w 378"/>
                <a:gd name="T35" fmla="*/ 2147483647 h 395"/>
                <a:gd name="T36" fmla="*/ 2147483647 w 378"/>
                <a:gd name="T37" fmla="*/ 2147483647 h 395"/>
                <a:gd name="T38" fmla="*/ 2147483647 w 378"/>
                <a:gd name="T39" fmla="*/ 2147483647 h 395"/>
                <a:gd name="T40" fmla="*/ 2147483647 w 378"/>
                <a:gd name="T41" fmla="*/ 2147483647 h 395"/>
                <a:gd name="T42" fmla="*/ 2147483647 w 378"/>
                <a:gd name="T43" fmla="*/ 2147483647 h 395"/>
                <a:gd name="T44" fmla="*/ 2147483647 w 378"/>
                <a:gd name="T45" fmla="*/ 2147483647 h 395"/>
                <a:gd name="T46" fmla="*/ 2147483647 w 378"/>
                <a:gd name="T47" fmla="*/ 2147483647 h 395"/>
                <a:gd name="T48" fmla="*/ 2147483647 w 378"/>
                <a:gd name="T49" fmla="*/ 2147483647 h 395"/>
                <a:gd name="T50" fmla="*/ 2147483647 w 378"/>
                <a:gd name="T51" fmla="*/ 2147483647 h 395"/>
                <a:gd name="T52" fmla="*/ 2147483647 w 378"/>
                <a:gd name="T53" fmla="*/ 2147483647 h 395"/>
                <a:gd name="T54" fmla="*/ 2147483647 w 378"/>
                <a:gd name="T55" fmla="*/ 2147483647 h 395"/>
                <a:gd name="T56" fmla="*/ 2147483647 w 378"/>
                <a:gd name="T57" fmla="*/ 2147483647 h 395"/>
                <a:gd name="T58" fmla="*/ 2147483647 w 378"/>
                <a:gd name="T59" fmla="*/ 2147483647 h 395"/>
                <a:gd name="T60" fmla="*/ 2147483647 w 378"/>
                <a:gd name="T61" fmla="*/ 2147483647 h 395"/>
                <a:gd name="T62" fmla="*/ 2147483647 w 378"/>
                <a:gd name="T63" fmla="*/ 2147483647 h 395"/>
                <a:gd name="T64" fmla="*/ 2147483647 w 378"/>
                <a:gd name="T65" fmla="*/ 2147483647 h 395"/>
                <a:gd name="T66" fmla="*/ 2147483647 w 378"/>
                <a:gd name="T67" fmla="*/ 2147483647 h 395"/>
                <a:gd name="T68" fmla="*/ 2147483647 w 378"/>
                <a:gd name="T69" fmla="*/ 2147483647 h 395"/>
                <a:gd name="T70" fmla="*/ 2147483647 w 378"/>
                <a:gd name="T71" fmla="*/ 2147483647 h 395"/>
                <a:gd name="T72" fmla="*/ 2147483647 w 378"/>
                <a:gd name="T73" fmla="*/ 2147483647 h 395"/>
                <a:gd name="T74" fmla="*/ 2147483647 w 378"/>
                <a:gd name="T75" fmla="*/ 2147483647 h 395"/>
                <a:gd name="T76" fmla="*/ 2147483647 w 378"/>
                <a:gd name="T77" fmla="*/ 2147483647 h 395"/>
                <a:gd name="T78" fmla="*/ 2147483647 w 378"/>
                <a:gd name="T79" fmla="*/ 2147483647 h 395"/>
                <a:gd name="T80" fmla="*/ 2147483647 w 378"/>
                <a:gd name="T81" fmla="*/ 2147483647 h 395"/>
                <a:gd name="T82" fmla="*/ 2147483647 w 378"/>
                <a:gd name="T83" fmla="*/ 2147483647 h 395"/>
                <a:gd name="T84" fmla="*/ 2147483647 w 378"/>
                <a:gd name="T85" fmla="*/ 2147483647 h 395"/>
                <a:gd name="T86" fmla="*/ 2147483647 w 378"/>
                <a:gd name="T87" fmla="*/ 2147483647 h 395"/>
                <a:gd name="T88" fmla="*/ 2147483647 w 378"/>
                <a:gd name="T89" fmla="*/ 2147483647 h 395"/>
                <a:gd name="T90" fmla="*/ 2147483647 w 378"/>
                <a:gd name="T91" fmla="*/ 2147483647 h 395"/>
                <a:gd name="T92" fmla="*/ 2147483647 w 378"/>
                <a:gd name="T93" fmla="*/ 2147483647 h 395"/>
                <a:gd name="T94" fmla="*/ 2147483647 w 378"/>
                <a:gd name="T95" fmla="*/ 2147483647 h 395"/>
                <a:gd name="T96" fmla="*/ 2147483647 w 378"/>
                <a:gd name="T97" fmla="*/ 2147483647 h 395"/>
                <a:gd name="T98" fmla="*/ 2147483647 w 378"/>
                <a:gd name="T99" fmla="*/ 2147483647 h 395"/>
                <a:gd name="T100" fmla="*/ 2147483647 w 378"/>
                <a:gd name="T101" fmla="*/ 2147483647 h 395"/>
                <a:gd name="T102" fmla="*/ 2147483647 w 378"/>
                <a:gd name="T103" fmla="*/ 2147483647 h 395"/>
                <a:gd name="T104" fmla="*/ 2147483647 w 378"/>
                <a:gd name="T105" fmla="*/ 2147483647 h 39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78" h="395">
                  <a:moveTo>
                    <a:pt x="370" y="90"/>
                  </a:moveTo>
                  <a:cubicBezTo>
                    <a:pt x="368" y="86"/>
                    <a:pt x="363" y="84"/>
                    <a:pt x="359" y="86"/>
                  </a:cubicBezTo>
                  <a:cubicBezTo>
                    <a:pt x="355" y="88"/>
                    <a:pt x="354" y="93"/>
                    <a:pt x="356" y="97"/>
                  </a:cubicBezTo>
                  <a:cubicBezTo>
                    <a:pt x="360" y="105"/>
                    <a:pt x="361" y="114"/>
                    <a:pt x="359" y="123"/>
                  </a:cubicBezTo>
                  <a:cubicBezTo>
                    <a:pt x="354" y="145"/>
                    <a:pt x="332" y="159"/>
                    <a:pt x="310" y="154"/>
                  </a:cubicBezTo>
                  <a:cubicBezTo>
                    <a:pt x="299" y="152"/>
                    <a:pt x="289" y="146"/>
                    <a:pt x="283" y="137"/>
                  </a:cubicBezTo>
                  <a:cubicBezTo>
                    <a:pt x="277" y="128"/>
                    <a:pt x="275" y="117"/>
                    <a:pt x="278" y="107"/>
                  </a:cubicBezTo>
                  <a:cubicBezTo>
                    <a:pt x="282" y="85"/>
                    <a:pt x="304" y="71"/>
                    <a:pt x="327" y="76"/>
                  </a:cubicBezTo>
                  <a:cubicBezTo>
                    <a:pt x="330" y="76"/>
                    <a:pt x="333" y="77"/>
                    <a:pt x="336" y="79"/>
                  </a:cubicBezTo>
                  <a:cubicBezTo>
                    <a:pt x="340" y="80"/>
                    <a:pt x="345" y="79"/>
                    <a:pt x="347" y="75"/>
                  </a:cubicBezTo>
                  <a:cubicBezTo>
                    <a:pt x="349" y="71"/>
                    <a:pt x="347" y="66"/>
                    <a:pt x="343" y="64"/>
                  </a:cubicBezTo>
                  <a:cubicBezTo>
                    <a:pt x="339" y="62"/>
                    <a:pt x="335" y="61"/>
                    <a:pt x="330" y="60"/>
                  </a:cubicBezTo>
                  <a:cubicBezTo>
                    <a:pt x="314" y="57"/>
                    <a:pt x="299" y="60"/>
                    <a:pt x="286" y="68"/>
                  </a:cubicBezTo>
                  <a:cubicBezTo>
                    <a:pt x="201" y="42"/>
                    <a:pt x="201" y="42"/>
                    <a:pt x="201" y="42"/>
                  </a:cubicBezTo>
                  <a:cubicBezTo>
                    <a:pt x="199" y="35"/>
                    <a:pt x="195" y="28"/>
                    <a:pt x="190" y="22"/>
                  </a:cubicBezTo>
                  <a:cubicBezTo>
                    <a:pt x="181" y="10"/>
                    <a:pt x="167" y="3"/>
                    <a:pt x="151" y="2"/>
                  </a:cubicBezTo>
                  <a:cubicBezTo>
                    <a:pt x="136" y="0"/>
                    <a:pt x="122" y="5"/>
                    <a:pt x="111" y="13"/>
                  </a:cubicBezTo>
                  <a:cubicBezTo>
                    <a:pt x="103" y="9"/>
                    <a:pt x="91" y="5"/>
                    <a:pt x="70" y="4"/>
                  </a:cubicBezTo>
                  <a:cubicBezTo>
                    <a:pt x="21" y="3"/>
                    <a:pt x="3" y="40"/>
                    <a:pt x="2" y="42"/>
                  </a:cubicBezTo>
                  <a:cubicBezTo>
                    <a:pt x="0" y="45"/>
                    <a:pt x="1" y="48"/>
                    <a:pt x="3" y="51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9" y="67"/>
                    <a:pt x="24" y="67"/>
                    <a:pt x="27" y="64"/>
                  </a:cubicBezTo>
                  <a:cubicBezTo>
                    <a:pt x="27" y="64"/>
                    <a:pt x="47" y="47"/>
                    <a:pt x="69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7" y="47"/>
                    <a:pt x="84" y="49"/>
                    <a:pt x="90" y="53"/>
                  </a:cubicBezTo>
                  <a:cubicBezTo>
                    <a:pt x="89" y="63"/>
                    <a:pt x="91" y="74"/>
                    <a:pt x="96" y="83"/>
                  </a:cubicBezTo>
                  <a:cubicBezTo>
                    <a:pt x="92" y="88"/>
                    <a:pt x="86" y="93"/>
                    <a:pt x="79" y="96"/>
                  </a:cubicBezTo>
                  <a:cubicBezTo>
                    <a:pt x="74" y="98"/>
                    <a:pt x="67" y="99"/>
                    <a:pt x="60" y="99"/>
                  </a:cubicBezTo>
                  <a:cubicBezTo>
                    <a:pt x="46" y="99"/>
                    <a:pt x="33" y="95"/>
                    <a:pt x="33" y="95"/>
                  </a:cubicBezTo>
                  <a:cubicBezTo>
                    <a:pt x="29" y="93"/>
                    <a:pt x="25" y="95"/>
                    <a:pt x="23" y="99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5" y="119"/>
                    <a:pt x="15" y="123"/>
                    <a:pt x="18" y="125"/>
                  </a:cubicBezTo>
                  <a:cubicBezTo>
                    <a:pt x="19" y="126"/>
                    <a:pt x="36" y="142"/>
                    <a:pt x="65" y="142"/>
                  </a:cubicBezTo>
                  <a:cubicBezTo>
                    <a:pt x="75" y="142"/>
                    <a:pt x="85" y="140"/>
                    <a:pt x="95" y="136"/>
                  </a:cubicBezTo>
                  <a:cubicBezTo>
                    <a:pt x="116" y="127"/>
                    <a:pt x="127" y="118"/>
                    <a:pt x="132" y="111"/>
                  </a:cubicBezTo>
                  <a:cubicBezTo>
                    <a:pt x="135" y="111"/>
                    <a:pt x="138" y="112"/>
                    <a:pt x="141" y="112"/>
                  </a:cubicBezTo>
                  <a:cubicBezTo>
                    <a:pt x="143" y="112"/>
                    <a:pt x="144" y="113"/>
                    <a:pt x="146" y="113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57" y="113"/>
                    <a:pt x="167" y="110"/>
                    <a:pt x="176" y="104"/>
                  </a:cubicBezTo>
                  <a:cubicBezTo>
                    <a:pt x="264" y="132"/>
                    <a:pt x="264" y="132"/>
                    <a:pt x="264" y="132"/>
                  </a:cubicBezTo>
                  <a:cubicBezTo>
                    <a:pt x="264" y="134"/>
                    <a:pt x="264" y="135"/>
                    <a:pt x="265" y="136"/>
                  </a:cubicBezTo>
                  <a:cubicBezTo>
                    <a:pt x="213" y="207"/>
                    <a:pt x="213" y="207"/>
                    <a:pt x="213" y="207"/>
                  </a:cubicBezTo>
                  <a:cubicBezTo>
                    <a:pt x="182" y="208"/>
                    <a:pt x="157" y="233"/>
                    <a:pt x="157" y="263"/>
                  </a:cubicBezTo>
                  <a:cubicBezTo>
                    <a:pt x="157" y="270"/>
                    <a:pt x="158" y="276"/>
                    <a:pt x="161" y="282"/>
                  </a:cubicBezTo>
                  <a:cubicBezTo>
                    <a:pt x="95" y="364"/>
                    <a:pt x="95" y="364"/>
                    <a:pt x="95" y="364"/>
                  </a:cubicBezTo>
                  <a:cubicBezTo>
                    <a:pt x="90" y="370"/>
                    <a:pt x="89" y="379"/>
                    <a:pt x="92" y="386"/>
                  </a:cubicBezTo>
                  <a:cubicBezTo>
                    <a:pt x="94" y="391"/>
                    <a:pt x="100" y="395"/>
                    <a:pt x="106" y="395"/>
                  </a:cubicBezTo>
                  <a:cubicBezTo>
                    <a:pt x="324" y="395"/>
                    <a:pt x="324" y="395"/>
                    <a:pt x="324" y="395"/>
                  </a:cubicBezTo>
                  <a:cubicBezTo>
                    <a:pt x="330" y="395"/>
                    <a:pt x="335" y="391"/>
                    <a:pt x="338" y="386"/>
                  </a:cubicBezTo>
                  <a:cubicBezTo>
                    <a:pt x="341" y="379"/>
                    <a:pt x="340" y="370"/>
                    <a:pt x="335" y="364"/>
                  </a:cubicBezTo>
                  <a:cubicBezTo>
                    <a:pt x="269" y="282"/>
                    <a:pt x="269" y="282"/>
                    <a:pt x="269" y="282"/>
                  </a:cubicBezTo>
                  <a:cubicBezTo>
                    <a:pt x="271" y="276"/>
                    <a:pt x="273" y="270"/>
                    <a:pt x="273" y="263"/>
                  </a:cubicBezTo>
                  <a:cubicBezTo>
                    <a:pt x="273" y="257"/>
                    <a:pt x="272" y="251"/>
                    <a:pt x="270" y="246"/>
                  </a:cubicBezTo>
                  <a:cubicBezTo>
                    <a:pt x="324" y="171"/>
                    <a:pt x="324" y="171"/>
                    <a:pt x="324" y="171"/>
                  </a:cubicBezTo>
                  <a:cubicBezTo>
                    <a:pt x="348" y="169"/>
                    <a:pt x="369" y="151"/>
                    <a:pt x="375" y="127"/>
                  </a:cubicBezTo>
                  <a:cubicBezTo>
                    <a:pt x="378" y="114"/>
                    <a:pt x="376" y="101"/>
                    <a:pt x="370" y="90"/>
                  </a:cubicBezTo>
                  <a:close/>
                  <a:moveTo>
                    <a:pt x="93" y="37"/>
                  </a:moveTo>
                  <a:cubicBezTo>
                    <a:pt x="87" y="33"/>
                    <a:pt x="79" y="31"/>
                    <a:pt x="70" y="31"/>
                  </a:cubicBezTo>
                  <a:cubicBezTo>
                    <a:pt x="69" y="31"/>
                    <a:pt x="69" y="31"/>
                    <a:pt x="69" y="31"/>
                  </a:cubicBezTo>
                  <a:cubicBezTo>
                    <a:pt x="49" y="31"/>
                    <a:pt x="31" y="41"/>
                    <a:pt x="23" y="47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5" y="36"/>
                    <a:pt x="40" y="20"/>
                    <a:pt x="70" y="20"/>
                  </a:cubicBezTo>
                  <a:cubicBezTo>
                    <a:pt x="84" y="21"/>
                    <a:pt x="93" y="23"/>
                    <a:pt x="100" y="25"/>
                  </a:cubicBezTo>
                  <a:cubicBezTo>
                    <a:pt x="97" y="29"/>
                    <a:pt x="95" y="32"/>
                    <a:pt x="93" y="37"/>
                  </a:cubicBezTo>
                  <a:close/>
                  <a:moveTo>
                    <a:pt x="89" y="121"/>
                  </a:moveTo>
                  <a:cubicBezTo>
                    <a:pt x="81" y="124"/>
                    <a:pt x="73" y="126"/>
                    <a:pt x="65" y="126"/>
                  </a:cubicBezTo>
                  <a:cubicBezTo>
                    <a:pt x="50" y="126"/>
                    <a:pt x="39" y="120"/>
                    <a:pt x="33" y="116"/>
                  </a:cubicBezTo>
                  <a:cubicBezTo>
                    <a:pt x="35" y="112"/>
                    <a:pt x="35" y="112"/>
                    <a:pt x="35" y="112"/>
                  </a:cubicBezTo>
                  <a:cubicBezTo>
                    <a:pt x="41" y="114"/>
                    <a:pt x="50" y="115"/>
                    <a:pt x="60" y="115"/>
                  </a:cubicBezTo>
                  <a:cubicBezTo>
                    <a:pt x="69" y="115"/>
                    <a:pt x="78" y="114"/>
                    <a:pt x="85" y="111"/>
                  </a:cubicBezTo>
                  <a:cubicBezTo>
                    <a:pt x="94" y="107"/>
                    <a:pt x="101" y="102"/>
                    <a:pt x="106" y="96"/>
                  </a:cubicBezTo>
                  <a:cubicBezTo>
                    <a:pt x="109" y="99"/>
                    <a:pt x="113" y="102"/>
                    <a:pt x="117" y="104"/>
                  </a:cubicBezTo>
                  <a:cubicBezTo>
                    <a:pt x="112" y="109"/>
                    <a:pt x="104" y="115"/>
                    <a:pt x="89" y="121"/>
                  </a:cubicBezTo>
                  <a:close/>
                  <a:moveTo>
                    <a:pt x="187" y="61"/>
                  </a:moveTo>
                  <a:cubicBezTo>
                    <a:pt x="185" y="82"/>
                    <a:pt x="165" y="98"/>
                    <a:pt x="142" y="96"/>
                  </a:cubicBezTo>
                  <a:cubicBezTo>
                    <a:pt x="131" y="95"/>
                    <a:pt x="121" y="90"/>
                    <a:pt x="114" y="82"/>
                  </a:cubicBezTo>
                  <a:cubicBezTo>
                    <a:pt x="108" y="74"/>
                    <a:pt x="105" y="64"/>
                    <a:pt x="106" y="53"/>
                  </a:cubicBezTo>
                  <a:cubicBezTo>
                    <a:pt x="107" y="33"/>
                    <a:pt x="125" y="18"/>
                    <a:pt x="146" y="18"/>
                  </a:cubicBezTo>
                  <a:cubicBezTo>
                    <a:pt x="147" y="18"/>
                    <a:pt x="149" y="18"/>
                    <a:pt x="150" y="18"/>
                  </a:cubicBezTo>
                  <a:cubicBezTo>
                    <a:pt x="161" y="19"/>
                    <a:pt x="171" y="24"/>
                    <a:pt x="178" y="32"/>
                  </a:cubicBezTo>
                  <a:cubicBezTo>
                    <a:pt x="185" y="40"/>
                    <a:pt x="188" y="50"/>
                    <a:pt x="187" y="61"/>
                  </a:cubicBezTo>
                  <a:close/>
                  <a:moveTo>
                    <a:pt x="262" y="103"/>
                  </a:moveTo>
                  <a:cubicBezTo>
                    <a:pt x="261" y="107"/>
                    <a:pt x="261" y="111"/>
                    <a:pt x="261" y="115"/>
                  </a:cubicBezTo>
                  <a:cubicBezTo>
                    <a:pt x="190" y="92"/>
                    <a:pt x="190" y="92"/>
                    <a:pt x="190" y="92"/>
                  </a:cubicBezTo>
                  <a:cubicBezTo>
                    <a:pt x="197" y="84"/>
                    <a:pt x="202" y="74"/>
                    <a:pt x="203" y="62"/>
                  </a:cubicBezTo>
                  <a:cubicBezTo>
                    <a:pt x="203" y="61"/>
                    <a:pt x="203" y="60"/>
                    <a:pt x="203" y="59"/>
                  </a:cubicBezTo>
                  <a:cubicBezTo>
                    <a:pt x="273" y="81"/>
                    <a:pt x="273" y="81"/>
                    <a:pt x="273" y="81"/>
                  </a:cubicBezTo>
                  <a:cubicBezTo>
                    <a:pt x="268" y="87"/>
                    <a:pt x="264" y="95"/>
                    <a:pt x="262" y="103"/>
                  </a:cubicBezTo>
                  <a:close/>
                  <a:moveTo>
                    <a:pt x="215" y="223"/>
                  </a:moveTo>
                  <a:cubicBezTo>
                    <a:pt x="238" y="223"/>
                    <a:pt x="257" y="241"/>
                    <a:pt x="257" y="263"/>
                  </a:cubicBezTo>
                  <a:cubicBezTo>
                    <a:pt x="257" y="286"/>
                    <a:pt x="238" y="304"/>
                    <a:pt x="215" y="304"/>
                  </a:cubicBezTo>
                  <a:cubicBezTo>
                    <a:pt x="192" y="304"/>
                    <a:pt x="173" y="286"/>
                    <a:pt x="173" y="263"/>
                  </a:cubicBezTo>
                  <a:cubicBezTo>
                    <a:pt x="173" y="241"/>
                    <a:pt x="192" y="223"/>
                    <a:pt x="215" y="223"/>
                  </a:cubicBezTo>
                  <a:close/>
                  <a:moveTo>
                    <a:pt x="323" y="374"/>
                  </a:moveTo>
                  <a:cubicBezTo>
                    <a:pt x="324" y="376"/>
                    <a:pt x="324" y="378"/>
                    <a:pt x="324" y="379"/>
                  </a:cubicBezTo>
                  <a:cubicBezTo>
                    <a:pt x="106" y="379"/>
                    <a:pt x="106" y="379"/>
                    <a:pt x="106" y="379"/>
                  </a:cubicBezTo>
                  <a:cubicBezTo>
                    <a:pt x="106" y="378"/>
                    <a:pt x="106" y="376"/>
                    <a:pt x="107" y="374"/>
                  </a:cubicBezTo>
                  <a:cubicBezTo>
                    <a:pt x="169" y="297"/>
                    <a:pt x="169" y="297"/>
                    <a:pt x="169" y="297"/>
                  </a:cubicBezTo>
                  <a:cubicBezTo>
                    <a:pt x="179" y="311"/>
                    <a:pt x="196" y="320"/>
                    <a:pt x="215" y="320"/>
                  </a:cubicBezTo>
                  <a:cubicBezTo>
                    <a:pt x="234" y="320"/>
                    <a:pt x="250" y="311"/>
                    <a:pt x="261" y="297"/>
                  </a:cubicBezTo>
                  <a:lnTo>
                    <a:pt x="323" y="374"/>
                  </a:lnTo>
                  <a:close/>
                  <a:moveTo>
                    <a:pt x="261" y="230"/>
                  </a:moveTo>
                  <a:cubicBezTo>
                    <a:pt x="254" y="220"/>
                    <a:pt x="244" y="213"/>
                    <a:pt x="232" y="210"/>
                  </a:cubicBezTo>
                  <a:cubicBezTo>
                    <a:pt x="274" y="151"/>
                    <a:pt x="274" y="151"/>
                    <a:pt x="274" y="151"/>
                  </a:cubicBezTo>
                  <a:cubicBezTo>
                    <a:pt x="282" y="160"/>
                    <a:pt x="293" y="167"/>
                    <a:pt x="305" y="170"/>
                  </a:cubicBezTo>
                  <a:lnTo>
                    <a:pt x="261" y="230"/>
                  </a:lnTo>
                  <a:close/>
                </a:path>
              </a:pathLst>
            </a:custGeom>
            <a:solidFill>
              <a:srgbClr val="00A9D4"/>
            </a:solidFill>
            <a:ln>
              <a:noFill/>
            </a:ln>
          </p:spPr>
          <p:txBody>
            <a:bodyPr/>
            <a:lstStyle/>
            <a:p>
              <a:endParaRPr lang="en-US" b="1" dirty="0">
                <a:solidFill>
                  <a:srgbClr val="58585A"/>
                </a:solidFill>
              </a:endParaRPr>
            </a:p>
          </p:txBody>
        </p:sp>
        <p:sp>
          <p:nvSpPr>
            <p:cNvPr id="31" name="Freeform 3">
              <a:extLst>
                <a:ext uri="{FF2B5EF4-FFF2-40B4-BE49-F238E27FC236}">
                  <a16:creationId xmlns:a16="http://schemas.microsoft.com/office/drawing/2014/main" id="{9C18E56E-4137-4A14-9649-2F054BB11A1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318987" y="2901604"/>
              <a:ext cx="340382" cy="275784"/>
            </a:xfrm>
            <a:custGeom>
              <a:avLst/>
              <a:gdLst>
                <a:gd name="T0" fmla="*/ 2147483647 w 464"/>
                <a:gd name="T1" fmla="*/ 2147483647 h 282"/>
                <a:gd name="T2" fmla="*/ 2147483647 w 464"/>
                <a:gd name="T3" fmla="*/ 0 h 282"/>
                <a:gd name="T4" fmla="*/ 2147483647 w 464"/>
                <a:gd name="T5" fmla="*/ 2147483647 h 282"/>
                <a:gd name="T6" fmla="*/ 2147483647 w 464"/>
                <a:gd name="T7" fmla="*/ 2147483647 h 282"/>
                <a:gd name="T8" fmla="*/ 2147483647 w 464"/>
                <a:gd name="T9" fmla="*/ 2147483647 h 282"/>
                <a:gd name="T10" fmla="*/ 0 w 464"/>
                <a:gd name="T11" fmla="*/ 2147483647 h 282"/>
                <a:gd name="T12" fmla="*/ 2147483647 w 464"/>
                <a:gd name="T13" fmla="*/ 2147483647 h 282"/>
                <a:gd name="T14" fmla="*/ 2147483647 w 464"/>
                <a:gd name="T15" fmla="*/ 2147483647 h 282"/>
                <a:gd name="T16" fmla="*/ 2147483647 w 464"/>
                <a:gd name="T17" fmla="*/ 2147483647 h 282"/>
                <a:gd name="T18" fmla="*/ 2147483647 w 464"/>
                <a:gd name="T19" fmla="*/ 2147483647 h 282"/>
                <a:gd name="T20" fmla="*/ 2147483647 w 464"/>
                <a:gd name="T21" fmla="*/ 2147483647 h 282"/>
                <a:gd name="T22" fmla="*/ 2147483647 w 464"/>
                <a:gd name="T23" fmla="*/ 2147483647 h 282"/>
                <a:gd name="T24" fmla="*/ 2147483647 w 464"/>
                <a:gd name="T25" fmla="*/ 2147483647 h 282"/>
                <a:gd name="T26" fmla="*/ 2147483647 w 464"/>
                <a:gd name="T27" fmla="*/ 2147483647 h 282"/>
                <a:gd name="T28" fmla="*/ 2147483647 w 464"/>
                <a:gd name="T29" fmla="*/ 2147483647 h 282"/>
                <a:gd name="T30" fmla="*/ 2147483647 w 464"/>
                <a:gd name="T31" fmla="*/ 2147483647 h 282"/>
                <a:gd name="T32" fmla="*/ 2147483647 w 464"/>
                <a:gd name="T33" fmla="*/ 2147483647 h 282"/>
                <a:gd name="T34" fmla="*/ 2147483647 w 464"/>
                <a:gd name="T35" fmla="*/ 2147483647 h 282"/>
                <a:gd name="T36" fmla="*/ 2147483647 w 464"/>
                <a:gd name="T37" fmla="*/ 2147483647 h 282"/>
                <a:gd name="T38" fmla="*/ 2147483647 w 464"/>
                <a:gd name="T39" fmla="*/ 2147483647 h 282"/>
                <a:gd name="T40" fmla="*/ 2147483647 w 464"/>
                <a:gd name="T41" fmla="*/ 2147483647 h 282"/>
                <a:gd name="T42" fmla="*/ 2147483647 w 464"/>
                <a:gd name="T43" fmla="*/ 2147483647 h 282"/>
                <a:gd name="T44" fmla="*/ 2147483647 w 464"/>
                <a:gd name="T45" fmla="*/ 2147483647 h 282"/>
                <a:gd name="T46" fmla="*/ 2147483647 w 464"/>
                <a:gd name="T47" fmla="*/ 2147483647 h 282"/>
                <a:gd name="T48" fmla="*/ 2147483647 w 464"/>
                <a:gd name="T49" fmla="*/ 2147483647 h 282"/>
                <a:gd name="T50" fmla="*/ 2147483647 w 464"/>
                <a:gd name="T51" fmla="*/ 2147483647 h 282"/>
                <a:gd name="T52" fmla="*/ 2147483647 w 464"/>
                <a:gd name="T53" fmla="*/ 2147483647 h 282"/>
                <a:gd name="T54" fmla="*/ 2147483647 w 464"/>
                <a:gd name="T55" fmla="*/ 2147483647 h 282"/>
                <a:gd name="T56" fmla="*/ 2147483647 w 464"/>
                <a:gd name="T57" fmla="*/ 2147483647 h 282"/>
                <a:gd name="T58" fmla="*/ 2147483647 w 464"/>
                <a:gd name="T59" fmla="*/ 2147483647 h 282"/>
                <a:gd name="T60" fmla="*/ 2147483647 w 464"/>
                <a:gd name="T61" fmla="*/ 2147483647 h 282"/>
                <a:gd name="T62" fmla="*/ 2147483647 w 464"/>
                <a:gd name="T63" fmla="*/ 2147483647 h 282"/>
                <a:gd name="T64" fmla="*/ 2147483647 w 464"/>
                <a:gd name="T65" fmla="*/ 2147483647 h 282"/>
                <a:gd name="T66" fmla="*/ 2147483647 w 464"/>
                <a:gd name="T67" fmla="*/ 2147483647 h 282"/>
                <a:gd name="T68" fmla="*/ 2147483647 w 464"/>
                <a:gd name="T69" fmla="*/ 2147483647 h 282"/>
                <a:gd name="T70" fmla="*/ 2147483647 w 464"/>
                <a:gd name="T71" fmla="*/ 2147483647 h 282"/>
                <a:gd name="T72" fmla="*/ 2147483647 w 464"/>
                <a:gd name="T73" fmla="*/ 2147483647 h 282"/>
                <a:gd name="T74" fmla="*/ 2147483647 w 464"/>
                <a:gd name="T75" fmla="*/ 2147483647 h 282"/>
                <a:gd name="T76" fmla="*/ 2147483647 w 464"/>
                <a:gd name="T77" fmla="*/ 2147483647 h 282"/>
                <a:gd name="T78" fmla="*/ 2147483647 w 464"/>
                <a:gd name="T79" fmla="*/ 2147483647 h 28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64" h="282">
                  <a:moveTo>
                    <a:pt x="456" y="52"/>
                  </a:moveTo>
                  <a:cubicBezTo>
                    <a:pt x="461" y="52"/>
                    <a:pt x="464" y="49"/>
                    <a:pt x="464" y="44"/>
                  </a:cubicBezTo>
                  <a:cubicBezTo>
                    <a:pt x="464" y="17"/>
                    <a:pt x="464" y="17"/>
                    <a:pt x="464" y="17"/>
                  </a:cubicBezTo>
                  <a:cubicBezTo>
                    <a:pt x="464" y="8"/>
                    <a:pt x="456" y="0"/>
                    <a:pt x="447" y="0"/>
                  </a:cubicBezTo>
                  <a:cubicBezTo>
                    <a:pt x="196" y="0"/>
                    <a:pt x="196" y="0"/>
                    <a:pt x="196" y="0"/>
                  </a:cubicBezTo>
                  <a:cubicBezTo>
                    <a:pt x="187" y="0"/>
                    <a:pt x="179" y="8"/>
                    <a:pt x="179" y="17"/>
                  </a:cubicBezTo>
                  <a:cubicBezTo>
                    <a:pt x="179" y="71"/>
                    <a:pt x="179" y="71"/>
                    <a:pt x="179" y="71"/>
                  </a:cubicBezTo>
                  <a:cubicBezTo>
                    <a:pt x="156" y="71"/>
                    <a:pt x="156" y="71"/>
                    <a:pt x="156" y="71"/>
                  </a:cubicBezTo>
                  <a:cubicBezTo>
                    <a:pt x="156" y="63"/>
                    <a:pt x="156" y="63"/>
                    <a:pt x="156" y="63"/>
                  </a:cubicBezTo>
                  <a:cubicBezTo>
                    <a:pt x="156" y="53"/>
                    <a:pt x="148" y="45"/>
                    <a:pt x="138" y="45"/>
                  </a:cubicBezTo>
                  <a:cubicBezTo>
                    <a:pt x="59" y="45"/>
                    <a:pt x="59" y="45"/>
                    <a:pt x="59" y="45"/>
                  </a:cubicBezTo>
                  <a:cubicBezTo>
                    <a:pt x="24" y="45"/>
                    <a:pt x="0" y="101"/>
                    <a:pt x="0" y="153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242"/>
                    <a:pt x="1" y="244"/>
                    <a:pt x="2" y="246"/>
                  </a:cubicBezTo>
                  <a:cubicBezTo>
                    <a:pt x="4" y="247"/>
                    <a:pt x="6" y="248"/>
                    <a:pt x="8" y="248"/>
                  </a:cubicBezTo>
                  <a:cubicBezTo>
                    <a:pt x="40" y="248"/>
                    <a:pt x="40" y="248"/>
                    <a:pt x="40" y="248"/>
                  </a:cubicBezTo>
                  <a:cubicBezTo>
                    <a:pt x="44" y="267"/>
                    <a:pt x="61" y="282"/>
                    <a:pt x="81" y="282"/>
                  </a:cubicBezTo>
                  <a:cubicBezTo>
                    <a:pt x="101" y="282"/>
                    <a:pt x="118" y="267"/>
                    <a:pt x="122" y="248"/>
                  </a:cubicBezTo>
                  <a:cubicBezTo>
                    <a:pt x="148" y="248"/>
                    <a:pt x="148" y="248"/>
                    <a:pt x="148" y="248"/>
                  </a:cubicBezTo>
                  <a:cubicBezTo>
                    <a:pt x="152" y="248"/>
                    <a:pt x="155" y="245"/>
                    <a:pt x="156" y="241"/>
                  </a:cubicBezTo>
                  <a:cubicBezTo>
                    <a:pt x="319" y="241"/>
                    <a:pt x="319" y="241"/>
                    <a:pt x="319" y="241"/>
                  </a:cubicBezTo>
                  <a:cubicBezTo>
                    <a:pt x="319" y="263"/>
                    <a:pt x="338" y="282"/>
                    <a:pt x="360" y="282"/>
                  </a:cubicBezTo>
                  <a:cubicBezTo>
                    <a:pt x="383" y="282"/>
                    <a:pt x="402" y="263"/>
                    <a:pt x="402" y="241"/>
                  </a:cubicBezTo>
                  <a:cubicBezTo>
                    <a:pt x="447" y="241"/>
                    <a:pt x="447" y="241"/>
                    <a:pt x="447" y="241"/>
                  </a:cubicBezTo>
                  <a:cubicBezTo>
                    <a:pt x="456" y="241"/>
                    <a:pt x="464" y="233"/>
                    <a:pt x="464" y="223"/>
                  </a:cubicBezTo>
                  <a:cubicBezTo>
                    <a:pt x="464" y="76"/>
                    <a:pt x="464" y="76"/>
                    <a:pt x="464" y="76"/>
                  </a:cubicBezTo>
                  <a:cubicBezTo>
                    <a:pt x="464" y="71"/>
                    <a:pt x="461" y="68"/>
                    <a:pt x="456" y="68"/>
                  </a:cubicBezTo>
                  <a:cubicBezTo>
                    <a:pt x="452" y="68"/>
                    <a:pt x="448" y="71"/>
                    <a:pt x="448" y="76"/>
                  </a:cubicBezTo>
                  <a:cubicBezTo>
                    <a:pt x="448" y="168"/>
                    <a:pt x="448" y="168"/>
                    <a:pt x="448" y="168"/>
                  </a:cubicBezTo>
                  <a:cubicBezTo>
                    <a:pt x="195" y="168"/>
                    <a:pt x="195" y="168"/>
                    <a:pt x="195" y="168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6"/>
                    <a:pt x="196" y="16"/>
                  </a:cubicBezTo>
                  <a:cubicBezTo>
                    <a:pt x="447" y="16"/>
                    <a:pt x="447" y="16"/>
                    <a:pt x="447" y="16"/>
                  </a:cubicBezTo>
                  <a:cubicBezTo>
                    <a:pt x="448" y="16"/>
                    <a:pt x="448" y="17"/>
                    <a:pt x="448" y="17"/>
                  </a:cubicBezTo>
                  <a:cubicBezTo>
                    <a:pt x="448" y="44"/>
                    <a:pt x="448" y="44"/>
                    <a:pt x="448" y="44"/>
                  </a:cubicBezTo>
                  <a:cubicBezTo>
                    <a:pt x="448" y="49"/>
                    <a:pt x="452" y="52"/>
                    <a:pt x="456" y="52"/>
                  </a:cubicBezTo>
                  <a:close/>
                  <a:moveTo>
                    <a:pt x="27" y="95"/>
                  </a:moveTo>
                  <a:cubicBezTo>
                    <a:pt x="27" y="95"/>
                    <a:pt x="28" y="95"/>
                    <a:pt x="28" y="95"/>
                  </a:cubicBezTo>
                  <a:cubicBezTo>
                    <a:pt x="86" y="95"/>
                    <a:pt x="86" y="95"/>
                    <a:pt x="86" y="95"/>
                  </a:cubicBezTo>
                  <a:cubicBezTo>
                    <a:pt x="86" y="145"/>
                    <a:pt x="86" y="145"/>
                    <a:pt x="86" y="145"/>
                  </a:cubicBezTo>
                  <a:cubicBezTo>
                    <a:pt x="16" y="145"/>
                    <a:pt x="16" y="145"/>
                    <a:pt x="16" y="145"/>
                  </a:cubicBezTo>
                  <a:cubicBezTo>
                    <a:pt x="17" y="127"/>
                    <a:pt x="21" y="109"/>
                    <a:pt x="27" y="95"/>
                  </a:cubicBezTo>
                  <a:close/>
                  <a:moveTo>
                    <a:pt x="81" y="266"/>
                  </a:moveTo>
                  <a:cubicBezTo>
                    <a:pt x="67" y="266"/>
                    <a:pt x="55" y="254"/>
                    <a:pt x="55" y="240"/>
                  </a:cubicBezTo>
                  <a:cubicBezTo>
                    <a:pt x="55" y="226"/>
                    <a:pt x="67" y="214"/>
                    <a:pt x="81" y="214"/>
                  </a:cubicBezTo>
                  <a:cubicBezTo>
                    <a:pt x="95" y="214"/>
                    <a:pt x="107" y="226"/>
                    <a:pt x="107" y="240"/>
                  </a:cubicBezTo>
                  <a:cubicBezTo>
                    <a:pt x="107" y="254"/>
                    <a:pt x="95" y="266"/>
                    <a:pt x="81" y="266"/>
                  </a:cubicBezTo>
                  <a:close/>
                  <a:moveTo>
                    <a:pt x="140" y="232"/>
                  </a:moveTo>
                  <a:cubicBezTo>
                    <a:pt x="122" y="232"/>
                    <a:pt x="122" y="232"/>
                    <a:pt x="122" y="232"/>
                  </a:cubicBezTo>
                  <a:cubicBezTo>
                    <a:pt x="118" y="213"/>
                    <a:pt x="101" y="198"/>
                    <a:pt x="81" y="198"/>
                  </a:cubicBezTo>
                  <a:cubicBezTo>
                    <a:pt x="61" y="198"/>
                    <a:pt x="44" y="213"/>
                    <a:pt x="40" y="232"/>
                  </a:cubicBezTo>
                  <a:cubicBezTo>
                    <a:pt x="16" y="232"/>
                    <a:pt x="16" y="232"/>
                    <a:pt x="16" y="232"/>
                  </a:cubicBezTo>
                  <a:cubicBezTo>
                    <a:pt x="16" y="161"/>
                    <a:pt x="16" y="161"/>
                    <a:pt x="16" y="161"/>
                  </a:cubicBezTo>
                  <a:cubicBezTo>
                    <a:pt x="94" y="161"/>
                    <a:pt x="94" y="161"/>
                    <a:pt x="94" y="161"/>
                  </a:cubicBezTo>
                  <a:cubicBezTo>
                    <a:pt x="99" y="161"/>
                    <a:pt x="102" y="157"/>
                    <a:pt x="102" y="153"/>
                  </a:cubicBezTo>
                  <a:cubicBezTo>
                    <a:pt x="102" y="87"/>
                    <a:pt x="102" y="87"/>
                    <a:pt x="102" y="87"/>
                  </a:cubicBezTo>
                  <a:cubicBezTo>
                    <a:pt x="102" y="83"/>
                    <a:pt x="99" y="79"/>
                    <a:pt x="94" y="79"/>
                  </a:cubicBezTo>
                  <a:cubicBezTo>
                    <a:pt x="35" y="79"/>
                    <a:pt x="35" y="79"/>
                    <a:pt x="35" y="79"/>
                  </a:cubicBezTo>
                  <a:cubicBezTo>
                    <a:pt x="42" y="68"/>
                    <a:pt x="50" y="61"/>
                    <a:pt x="59" y="61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9" y="61"/>
                    <a:pt x="140" y="62"/>
                    <a:pt x="140" y="63"/>
                  </a:cubicBezTo>
                  <a:lnTo>
                    <a:pt x="140" y="232"/>
                  </a:lnTo>
                  <a:close/>
                  <a:moveTo>
                    <a:pt x="179" y="225"/>
                  </a:moveTo>
                  <a:cubicBezTo>
                    <a:pt x="156" y="225"/>
                    <a:pt x="156" y="225"/>
                    <a:pt x="156" y="225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79" y="87"/>
                    <a:pt x="179" y="87"/>
                    <a:pt x="179" y="87"/>
                  </a:cubicBezTo>
                  <a:lnTo>
                    <a:pt x="179" y="225"/>
                  </a:lnTo>
                  <a:close/>
                  <a:moveTo>
                    <a:pt x="360" y="266"/>
                  </a:moveTo>
                  <a:cubicBezTo>
                    <a:pt x="346" y="266"/>
                    <a:pt x="335" y="254"/>
                    <a:pt x="335" y="240"/>
                  </a:cubicBezTo>
                  <a:cubicBezTo>
                    <a:pt x="335" y="226"/>
                    <a:pt x="346" y="214"/>
                    <a:pt x="360" y="214"/>
                  </a:cubicBezTo>
                  <a:cubicBezTo>
                    <a:pt x="375" y="214"/>
                    <a:pt x="386" y="226"/>
                    <a:pt x="386" y="240"/>
                  </a:cubicBezTo>
                  <a:cubicBezTo>
                    <a:pt x="386" y="254"/>
                    <a:pt x="375" y="266"/>
                    <a:pt x="360" y="266"/>
                  </a:cubicBezTo>
                  <a:close/>
                  <a:moveTo>
                    <a:pt x="448" y="184"/>
                  </a:moveTo>
                  <a:cubicBezTo>
                    <a:pt x="448" y="223"/>
                    <a:pt x="448" y="223"/>
                    <a:pt x="448" y="223"/>
                  </a:cubicBezTo>
                  <a:cubicBezTo>
                    <a:pt x="448" y="224"/>
                    <a:pt x="448" y="225"/>
                    <a:pt x="447" y="225"/>
                  </a:cubicBezTo>
                  <a:cubicBezTo>
                    <a:pt x="399" y="225"/>
                    <a:pt x="399" y="225"/>
                    <a:pt x="399" y="225"/>
                  </a:cubicBezTo>
                  <a:cubicBezTo>
                    <a:pt x="393" y="209"/>
                    <a:pt x="378" y="198"/>
                    <a:pt x="360" y="198"/>
                  </a:cubicBezTo>
                  <a:cubicBezTo>
                    <a:pt x="343" y="198"/>
                    <a:pt x="327" y="209"/>
                    <a:pt x="321" y="225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5" y="184"/>
                    <a:pt x="195" y="184"/>
                    <a:pt x="195" y="184"/>
                  </a:cubicBezTo>
                  <a:lnTo>
                    <a:pt x="448" y="184"/>
                  </a:lnTo>
                  <a:close/>
                </a:path>
              </a:pathLst>
            </a:custGeom>
            <a:solidFill>
              <a:srgbClr val="00A9D4"/>
            </a:solidFill>
            <a:ln>
              <a:noFill/>
            </a:ln>
          </p:spPr>
          <p:txBody>
            <a:bodyPr/>
            <a:lstStyle/>
            <a:p>
              <a:pPr algn="ctr"/>
              <a:endParaRPr lang="sv-SE" b="1" dirty="0">
                <a:solidFill>
                  <a:srgbClr val="58585A"/>
                </a:solidFill>
              </a:endParaRPr>
            </a:p>
          </p:txBody>
        </p:sp>
        <p:grpSp>
          <p:nvGrpSpPr>
            <p:cNvPr id="33" name="Group 117">
              <a:extLst>
                <a:ext uri="{FF2B5EF4-FFF2-40B4-BE49-F238E27FC236}">
                  <a16:creationId xmlns:a16="http://schemas.microsoft.com/office/drawing/2014/main" id="{EBC23994-4993-420B-811F-5A2C4B14088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58237" y="3249352"/>
              <a:ext cx="366813" cy="525462"/>
              <a:chOff x="3898" y="2274"/>
              <a:chExt cx="363" cy="520"/>
            </a:xfrm>
          </p:grpSpPr>
          <p:sp>
            <p:nvSpPr>
              <p:cNvPr id="34" name="AutoShape 118">
                <a:extLst>
                  <a:ext uri="{FF2B5EF4-FFF2-40B4-BE49-F238E27FC236}">
                    <a16:creationId xmlns:a16="http://schemas.microsoft.com/office/drawing/2014/main" id="{BA821ADF-0496-44D8-874F-1573DBC4CB0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905" y="2422"/>
                <a:ext cx="350" cy="366"/>
              </a:xfrm>
              <a:prstGeom prst="roundRect">
                <a:avLst>
                  <a:gd name="adj" fmla="val 9356"/>
                </a:avLst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35" name="Oval 119">
                <a:extLst>
                  <a:ext uri="{FF2B5EF4-FFF2-40B4-BE49-F238E27FC236}">
                    <a16:creationId xmlns:a16="http://schemas.microsoft.com/office/drawing/2014/main" id="{5E4A8A66-3099-4C96-BB6D-DB7C6596E442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903" y="2281"/>
                <a:ext cx="352" cy="355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36" name="Text Box 120">
                <a:extLst>
                  <a:ext uri="{FF2B5EF4-FFF2-40B4-BE49-F238E27FC236}">
                    <a16:creationId xmlns:a16="http://schemas.microsoft.com/office/drawing/2014/main" id="{422AE179-9138-452A-9FC0-E4F895970FCA}"/>
                  </a:ext>
                </a:extLst>
              </p:cNvPr>
              <p:cNvSpPr txBox="1">
                <a:spLocks noChangeAspect="1" noChangeArrowheads="1"/>
              </p:cNvSpPr>
              <p:nvPr/>
            </p:nvSpPr>
            <p:spPr bwMode="auto">
              <a:xfrm>
                <a:off x="3915" y="2557"/>
                <a:ext cx="327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en-US" sz="800" dirty="0">
                    <a:ea typeface="MS PGothic" pitchFamily="34" charset="-128"/>
                  </a:rPr>
                  <a:t>LTE-M</a:t>
                </a:r>
                <a:r>
                  <a:rPr lang="en-US" altLang="en-US" sz="1400" dirty="0">
                    <a:ea typeface="MS PGothic" pitchFamily="34" charset="-128"/>
                  </a:rPr>
                  <a:t> </a:t>
                </a:r>
              </a:p>
            </p:txBody>
          </p:sp>
          <p:sp>
            <p:nvSpPr>
              <p:cNvPr id="37" name="Rectangle 121">
                <a:extLst>
                  <a:ext uri="{FF2B5EF4-FFF2-40B4-BE49-F238E27FC236}">
                    <a16:creationId xmlns:a16="http://schemas.microsoft.com/office/drawing/2014/main" id="{BD51FBBE-CAD2-41FB-B23E-7FD3A94320A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898" y="2274"/>
                <a:ext cx="363" cy="5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2000" rIns="7200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38" name="Freeform 11">
                <a:extLst>
                  <a:ext uri="{FF2B5EF4-FFF2-40B4-BE49-F238E27FC236}">
                    <a16:creationId xmlns:a16="http://schemas.microsoft.com/office/drawing/2014/main" id="{E9FB016E-F613-42D9-B7DE-0765A1F766A6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898" y="2274"/>
                <a:ext cx="363" cy="520"/>
              </a:xfrm>
              <a:custGeom>
                <a:avLst/>
                <a:gdLst>
                  <a:gd name="T0" fmla="*/ 352657 w 410"/>
                  <a:gd name="T1" fmla="*/ 190313 h 589"/>
                  <a:gd name="T2" fmla="*/ 345639 w 410"/>
                  <a:gd name="T3" fmla="*/ 196962 h 589"/>
                  <a:gd name="T4" fmla="*/ 345639 w 410"/>
                  <a:gd name="T5" fmla="*/ 456254 h 589"/>
                  <a:gd name="T6" fmla="*/ 324585 w 410"/>
                  <a:gd name="T7" fmla="*/ 476199 h 589"/>
                  <a:gd name="T8" fmla="*/ 35967 w 410"/>
                  <a:gd name="T9" fmla="*/ 476199 h 589"/>
                  <a:gd name="T10" fmla="*/ 14036 w 410"/>
                  <a:gd name="T11" fmla="*/ 456254 h 589"/>
                  <a:gd name="T12" fmla="*/ 14036 w 410"/>
                  <a:gd name="T13" fmla="*/ 170368 h 589"/>
                  <a:gd name="T14" fmla="*/ 179837 w 410"/>
                  <a:gd name="T15" fmla="*/ 13297 h 589"/>
                  <a:gd name="T16" fmla="*/ 345639 w 410"/>
                  <a:gd name="T17" fmla="*/ 170368 h 589"/>
                  <a:gd name="T18" fmla="*/ 352657 w 410"/>
                  <a:gd name="T19" fmla="*/ 177016 h 589"/>
                  <a:gd name="T20" fmla="*/ 359675 w 410"/>
                  <a:gd name="T21" fmla="*/ 170368 h 589"/>
                  <a:gd name="T22" fmla="*/ 359675 w 410"/>
                  <a:gd name="T23" fmla="*/ 170368 h 589"/>
                  <a:gd name="T24" fmla="*/ 179837 w 410"/>
                  <a:gd name="T25" fmla="*/ 0 h 589"/>
                  <a:gd name="T26" fmla="*/ 0 w 410"/>
                  <a:gd name="T27" fmla="*/ 170368 h 589"/>
                  <a:gd name="T28" fmla="*/ 877 w 410"/>
                  <a:gd name="T29" fmla="*/ 456254 h 589"/>
                  <a:gd name="T30" fmla="*/ 35967 w 410"/>
                  <a:gd name="T31" fmla="*/ 489497 h 589"/>
                  <a:gd name="T32" fmla="*/ 324585 w 410"/>
                  <a:gd name="T33" fmla="*/ 489497 h 589"/>
                  <a:gd name="T34" fmla="*/ 359675 w 410"/>
                  <a:gd name="T35" fmla="*/ 456254 h 589"/>
                  <a:gd name="T36" fmla="*/ 359675 w 410"/>
                  <a:gd name="T37" fmla="*/ 196962 h 589"/>
                  <a:gd name="T38" fmla="*/ 352657 w 410"/>
                  <a:gd name="T39" fmla="*/ 190313 h 589"/>
                  <a:gd name="T40" fmla="*/ 195628 w 410"/>
                  <a:gd name="T41" fmla="*/ 220232 h 589"/>
                  <a:gd name="T42" fmla="*/ 222824 w 410"/>
                  <a:gd name="T43" fmla="*/ 159564 h 589"/>
                  <a:gd name="T44" fmla="*/ 195628 w 410"/>
                  <a:gd name="T45" fmla="*/ 98065 h 589"/>
                  <a:gd name="T46" fmla="*/ 185977 w 410"/>
                  <a:gd name="T47" fmla="*/ 98065 h 589"/>
                  <a:gd name="T48" fmla="*/ 185977 w 410"/>
                  <a:gd name="T49" fmla="*/ 108038 h 589"/>
                  <a:gd name="T50" fmla="*/ 185977 w 410"/>
                  <a:gd name="T51" fmla="*/ 108038 h 589"/>
                  <a:gd name="T52" fmla="*/ 208787 w 410"/>
                  <a:gd name="T53" fmla="*/ 159564 h 589"/>
                  <a:gd name="T54" fmla="*/ 185977 w 410"/>
                  <a:gd name="T55" fmla="*/ 211090 h 589"/>
                  <a:gd name="T56" fmla="*/ 184224 w 410"/>
                  <a:gd name="T57" fmla="*/ 216076 h 589"/>
                  <a:gd name="T58" fmla="*/ 185977 w 410"/>
                  <a:gd name="T59" fmla="*/ 220232 h 589"/>
                  <a:gd name="T60" fmla="*/ 195628 w 410"/>
                  <a:gd name="T61" fmla="*/ 220232 h 589"/>
                  <a:gd name="T62" fmla="*/ 158783 w 410"/>
                  <a:gd name="T63" fmla="*/ 191976 h 589"/>
                  <a:gd name="T64" fmla="*/ 160538 w 410"/>
                  <a:gd name="T65" fmla="*/ 196132 h 589"/>
                  <a:gd name="T66" fmla="*/ 170188 w 410"/>
                  <a:gd name="T67" fmla="*/ 196132 h 589"/>
                  <a:gd name="T68" fmla="*/ 186854 w 410"/>
                  <a:gd name="T69" fmla="*/ 159564 h 589"/>
                  <a:gd name="T70" fmla="*/ 170188 w 410"/>
                  <a:gd name="T71" fmla="*/ 122166 h 589"/>
                  <a:gd name="T72" fmla="*/ 160538 w 410"/>
                  <a:gd name="T73" fmla="*/ 122166 h 589"/>
                  <a:gd name="T74" fmla="*/ 160538 w 410"/>
                  <a:gd name="T75" fmla="*/ 132138 h 589"/>
                  <a:gd name="T76" fmla="*/ 172819 w 410"/>
                  <a:gd name="T77" fmla="*/ 159564 h 589"/>
                  <a:gd name="T78" fmla="*/ 160538 w 410"/>
                  <a:gd name="T79" fmla="*/ 186990 h 589"/>
                  <a:gd name="T80" fmla="*/ 158783 w 410"/>
                  <a:gd name="T81" fmla="*/ 191976 h 589"/>
                  <a:gd name="T82" fmla="*/ 221069 w 410"/>
                  <a:gd name="T83" fmla="*/ 244333 h 589"/>
                  <a:gd name="T84" fmla="*/ 258790 w 410"/>
                  <a:gd name="T85" fmla="*/ 159564 h 589"/>
                  <a:gd name="T86" fmla="*/ 221069 w 410"/>
                  <a:gd name="T87" fmla="*/ 74795 h 589"/>
                  <a:gd name="T88" fmla="*/ 211418 w 410"/>
                  <a:gd name="T89" fmla="*/ 74795 h 589"/>
                  <a:gd name="T90" fmla="*/ 211418 w 410"/>
                  <a:gd name="T91" fmla="*/ 83937 h 589"/>
                  <a:gd name="T92" fmla="*/ 211418 w 410"/>
                  <a:gd name="T93" fmla="*/ 83937 h 589"/>
                  <a:gd name="T94" fmla="*/ 244754 w 410"/>
                  <a:gd name="T95" fmla="*/ 159564 h 589"/>
                  <a:gd name="T96" fmla="*/ 211418 w 410"/>
                  <a:gd name="T97" fmla="*/ 235190 h 589"/>
                  <a:gd name="T98" fmla="*/ 209664 w 410"/>
                  <a:gd name="T99" fmla="*/ 240177 h 589"/>
                  <a:gd name="T100" fmla="*/ 211418 w 410"/>
                  <a:gd name="T101" fmla="*/ 244333 h 589"/>
                  <a:gd name="T102" fmla="*/ 221069 w 410"/>
                  <a:gd name="T103" fmla="*/ 244333 h 589"/>
                  <a:gd name="T104" fmla="*/ 109657 w 410"/>
                  <a:gd name="T105" fmla="*/ 144604 h 589"/>
                  <a:gd name="T106" fmla="*/ 109657 w 410"/>
                  <a:gd name="T107" fmla="*/ 174523 h 589"/>
                  <a:gd name="T108" fmla="*/ 141238 w 410"/>
                  <a:gd name="T109" fmla="*/ 174523 h 589"/>
                  <a:gd name="T110" fmla="*/ 141238 w 410"/>
                  <a:gd name="T111" fmla="*/ 144604 h 589"/>
                  <a:gd name="T112" fmla="*/ 109657 w 410"/>
                  <a:gd name="T113" fmla="*/ 144604 h 5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10"/>
                  <a:gd name="T172" fmla="*/ 0 h 589"/>
                  <a:gd name="T173" fmla="*/ 410 w 410"/>
                  <a:gd name="T174" fmla="*/ 589 h 5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10" h="589">
                    <a:moveTo>
                      <a:pt x="402" y="229"/>
                    </a:moveTo>
                    <a:cubicBezTo>
                      <a:pt x="397" y="229"/>
                      <a:pt x="394" y="233"/>
                      <a:pt x="394" y="237"/>
                    </a:cubicBezTo>
                    <a:cubicBezTo>
                      <a:pt x="394" y="549"/>
                      <a:pt x="394" y="549"/>
                      <a:pt x="394" y="549"/>
                    </a:cubicBezTo>
                    <a:cubicBezTo>
                      <a:pt x="394" y="563"/>
                      <a:pt x="383" y="573"/>
                      <a:pt x="370" y="573"/>
                    </a:cubicBezTo>
                    <a:cubicBezTo>
                      <a:pt x="41" y="573"/>
                      <a:pt x="41" y="573"/>
                      <a:pt x="41" y="573"/>
                    </a:cubicBezTo>
                    <a:cubicBezTo>
                      <a:pt x="27" y="573"/>
                      <a:pt x="17" y="563"/>
                      <a:pt x="16" y="549"/>
                    </a:cubicBezTo>
                    <a:cubicBezTo>
                      <a:pt x="16" y="205"/>
                      <a:pt x="16" y="205"/>
                      <a:pt x="16" y="205"/>
                    </a:cubicBezTo>
                    <a:cubicBezTo>
                      <a:pt x="17" y="101"/>
                      <a:pt x="101" y="16"/>
                      <a:pt x="205" y="16"/>
                    </a:cubicBezTo>
                    <a:cubicBezTo>
                      <a:pt x="309" y="16"/>
                      <a:pt x="394" y="101"/>
                      <a:pt x="394" y="205"/>
                    </a:cubicBezTo>
                    <a:cubicBezTo>
                      <a:pt x="394" y="209"/>
                      <a:pt x="397" y="213"/>
                      <a:pt x="402" y="213"/>
                    </a:cubicBezTo>
                    <a:cubicBezTo>
                      <a:pt x="406" y="213"/>
                      <a:pt x="410" y="209"/>
                      <a:pt x="410" y="205"/>
                    </a:cubicBezTo>
                    <a:cubicBezTo>
                      <a:pt x="410" y="205"/>
                      <a:pt x="410" y="205"/>
                      <a:pt x="410" y="205"/>
                    </a:cubicBezTo>
                    <a:cubicBezTo>
                      <a:pt x="410" y="92"/>
                      <a:pt x="318" y="0"/>
                      <a:pt x="205" y="0"/>
                    </a:cubicBezTo>
                    <a:cubicBezTo>
                      <a:pt x="92" y="0"/>
                      <a:pt x="0" y="92"/>
                      <a:pt x="0" y="205"/>
                    </a:cubicBezTo>
                    <a:cubicBezTo>
                      <a:pt x="1" y="549"/>
                      <a:pt x="1" y="549"/>
                      <a:pt x="1" y="549"/>
                    </a:cubicBezTo>
                    <a:cubicBezTo>
                      <a:pt x="1" y="571"/>
                      <a:pt x="18" y="589"/>
                      <a:pt x="41" y="589"/>
                    </a:cubicBezTo>
                    <a:cubicBezTo>
                      <a:pt x="370" y="589"/>
                      <a:pt x="370" y="589"/>
                      <a:pt x="370" y="589"/>
                    </a:cubicBezTo>
                    <a:cubicBezTo>
                      <a:pt x="392" y="589"/>
                      <a:pt x="410" y="571"/>
                      <a:pt x="410" y="549"/>
                    </a:cubicBezTo>
                    <a:cubicBezTo>
                      <a:pt x="410" y="237"/>
                      <a:pt x="410" y="237"/>
                      <a:pt x="410" y="237"/>
                    </a:cubicBezTo>
                    <a:cubicBezTo>
                      <a:pt x="410" y="233"/>
                      <a:pt x="406" y="229"/>
                      <a:pt x="402" y="229"/>
                    </a:cubicBezTo>
                    <a:moveTo>
                      <a:pt x="223" y="265"/>
                    </a:moveTo>
                    <a:cubicBezTo>
                      <a:pt x="243" y="245"/>
                      <a:pt x="254" y="218"/>
                      <a:pt x="254" y="192"/>
                    </a:cubicBezTo>
                    <a:cubicBezTo>
                      <a:pt x="254" y="165"/>
                      <a:pt x="243" y="139"/>
                      <a:pt x="223" y="118"/>
                    </a:cubicBezTo>
                    <a:cubicBezTo>
                      <a:pt x="220" y="115"/>
                      <a:pt x="215" y="115"/>
                      <a:pt x="212" y="118"/>
                    </a:cubicBezTo>
                    <a:cubicBezTo>
                      <a:pt x="209" y="122"/>
                      <a:pt x="209" y="127"/>
                      <a:pt x="212" y="130"/>
                    </a:cubicBezTo>
                    <a:cubicBezTo>
                      <a:pt x="212" y="130"/>
                      <a:pt x="212" y="130"/>
                      <a:pt x="212" y="130"/>
                    </a:cubicBezTo>
                    <a:cubicBezTo>
                      <a:pt x="229" y="147"/>
                      <a:pt x="238" y="169"/>
                      <a:pt x="238" y="192"/>
                    </a:cubicBezTo>
                    <a:cubicBezTo>
                      <a:pt x="238" y="214"/>
                      <a:pt x="229" y="237"/>
                      <a:pt x="212" y="254"/>
                    </a:cubicBezTo>
                    <a:cubicBezTo>
                      <a:pt x="210" y="256"/>
                      <a:pt x="210" y="258"/>
                      <a:pt x="210" y="260"/>
                    </a:cubicBezTo>
                    <a:cubicBezTo>
                      <a:pt x="210" y="262"/>
                      <a:pt x="210" y="264"/>
                      <a:pt x="212" y="265"/>
                    </a:cubicBezTo>
                    <a:cubicBezTo>
                      <a:pt x="215" y="268"/>
                      <a:pt x="220" y="268"/>
                      <a:pt x="223" y="265"/>
                    </a:cubicBezTo>
                    <a:moveTo>
                      <a:pt x="181" y="231"/>
                    </a:moveTo>
                    <a:cubicBezTo>
                      <a:pt x="181" y="233"/>
                      <a:pt x="181" y="235"/>
                      <a:pt x="183" y="236"/>
                    </a:cubicBezTo>
                    <a:cubicBezTo>
                      <a:pt x="186" y="239"/>
                      <a:pt x="191" y="239"/>
                      <a:pt x="194" y="236"/>
                    </a:cubicBezTo>
                    <a:cubicBezTo>
                      <a:pt x="206" y="224"/>
                      <a:pt x="213" y="208"/>
                      <a:pt x="213" y="192"/>
                    </a:cubicBezTo>
                    <a:cubicBezTo>
                      <a:pt x="213" y="176"/>
                      <a:pt x="206" y="160"/>
                      <a:pt x="194" y="147"/>
                    </a:cubicBezTo>
                    <a:cubicBezTo>
                      <a:pt x="191" y="144"/>
                      <a:pt x="186" y="144"/>
                      <a:pt x="183" y="147"/>
                    </a:cubicBezTo>
                    <a:cubicBezTo>
                      <a:pt x="180" y="151"/>
                      <a:pt x="180" y="156"/>
                      <a:pt x="183" y="159"/>
                    </a:cubicBezTo>
                    <a:cubicBezTo>
                      <a:pt x="192" y="168"/>
                      <a:pt x="197" y="180"/>
                      <a:pt x="197" y="192"/>
                    </a:cubicBezTo>
                    <a:cubicBezTo>
                      <a:pt x="197" y="204"/>
                      <a:pt x="192" y="216"/>
                      <a:pt x="183" y="225"/>
                    </a:cubicBezTo>
                    <a:cubicBezTo>
                      <a:pt x="181" y="227"/>
                      <a:pt x="181" y="229"/>
                      <a:pt x="181" y="231"/>
                    </a:cubicBezTo>
                    <a:moveTo>
                      <a:pt x="252" y="294"/>
                    </a:moveTo>
                    <a:cubicBezTo>
                      <a:pt x="280" y="266"/>
                      <a:pt x="295" y="229"/>
                      <a:pt x="295" y="192"/>
                    </a:cubicBezTo>
                    <a:cubicBezTo>
                      <a:pt x="295" y="155"/>
                      <a:pt x="280" y="118"/>
                      <a:pt x="252" y="90"/>
                    </a:cubicBezTo>
                    <a:cubicBezTo>
                      <a:pt x="249" y="86"/>
                      <a:pt x="244" y="86"/>
                      <a:pt x="241" y="90"/>
                    </a:cubicBezTo>
                    <a:cubicBezTo>
                      <a:pt x="238" y="93"/>
                      <a:pt x="238" y="98"/>
                      <a:pt x="241" y="101"/>
                    </a:cubicBezTo>
                    <a:cubicBezTo>
                      <a:pt x="241" y="101"/>
                      <a:pt x="241" y="101"/>
                      <a:pt x="241" y="101"/>
                    </a:cubicBezTo>
                    <a:cubicBezTo>
                      <a:pt x="266" y="126"/>
                      <a:pt x="279" y="159"/>
                      <a:pt x="279" y="192"/>
                    </a:cubicBezTo>
                    <a:cubicBezTo>
                      <a:pt x="279" y="225"/>
                      <a:pt x="266" y="258"/>
                      <a:pt x="241" y="283"/>
                    </a:cubicBezTo>
                    <a:cubicBezTo>
                      <a:pt x="239" y="285"/>
                      <a:pt x="239" y="287"/>
                      <a:pt x="239" y="289"/>
                    </a:cubicBezTo>
                    <a:cubicBezTo>
                      <a:pt x="239" y="291"/>
                      <a:pt x="239" y="293"/>
                      <a:pt x="241" y="294"/>
                    </a:cubicBezTo>
                    <a:cubicBezTo>
                      <a:pt x="244" y="297"/>
                      <a:pt x="249" y="297"/>
                      <a:pt x="252" y="294"/>
                    </a:cubicBezTo>
                    <a:moveTo>
                      <a:pt x="125" y="174"/>
                    </a:moveTo>
                    <a:cubicBezTo>
                      <a:pt x="115" y="184"/>
                      <a:pt x="115" y="200"/>
                      <a:pt x="125" y="210"/>
                    </a:cubicBezTo>
                    <a:cubicBezTo>
                      <a:pt x="135" y="220"/>
                      <a:pt x="151" y="220"/>
                      <a:pt x="161" y="210"/>
                    </a:cubicBezTo>
                    <a:cubicBezTo>
                      <a:pt x="171" y="200"/>
                      <a:pt x="171" y="184"/>
                      <a:pt x="161" y="174"/>
                    </a:cubicBezTo>
                    <a:cubicBezTo>
                      <a:pt x="151" y="164"/>
                      <a:pt x="135" y="164"/>
                      <a:pt x="125" y="17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tIns="1080000" anchor="ctr"/>
              <a:lstStyle/>
              <a:p>
                <a:endParaRPr lang="en-US"/>
              </a:p>
            </p:txBody>
          </p:sp>
        </p:grpSp>
        <p:grpSp>
          <p:nvGrpSpPr>
            <p:cNvPr id="39" name="Group 117">
              <a:extLst>
                <a:ext uri="{FF2B5EF4-FFF2-40B4-BE49-F238E27FC236}">
                  <a16:creationId xmlns:a16="http://schemas.microsoft.com/office/drawing/2014/main" id="{C21C8F60-752C-4DA3-B1CE-C60C09F2149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375939" y="3252925"/>
              <a:ext cx="366813" cy="525462"/>
              <a:chOff x="3898" y="2274"/>
              <a:chExt cx="363" cy="520"/>
            </a:xfrm>
          </p:grpSpPr>
          <p:sp>
            <p:nvSpPr>
              <p:cNvPr id="40" name="AutoShape 118">
                <a:extLst>
                  <a:ext uri="{FF2B5EF4-FFF2-40B4-BE49-F238E27FC236}">
                    <a16:creationId xmlns:a16="http://schemas.microsoft.com/office/drawing/2014/main" id="{03D071B6-66B1-4050-87AB-813A16652EC2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905" y="2422"/>
                <a:ext cx="350" cy="366"/>
              </a:xfrm>
              <a:prstGeom prst="roundRect">
                <a:avLst>
                  <a:gd name="adj" fmla="val 9356"/>
                </a:avLst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41" name="Oval 119">
                <a:extLst>
                  <a:ext uri="{FF2B5EF4-FFF2-40B4-BE49-F238E27FC236}">
                    <a16:creationId xmlns:a16="http://schemas.microsoft.com/office/drawing/2014/main" id="{FD06E28C-D8E7-4CCA-A1DD-6335AD0278A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903" y="2281"/>
                <a:ext cx="352" cy="355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42" name="Text Box 120">
                <a:extLst>
                  <a:ext uri="{FF2B5EF4-FFF2-40B4-BE49-F238E27FC236}">
                    <a16:creationId xmlns:a16="http://schemas.microsoft.com/office/drawing/2014/main" id="{32410E41-A654-4C12-8894-D498D30ADF15}"/>
                  </a:ext>
                </a:extLst>
              </p:cNvPr>
              <p:cNvSpPr txBox="1">
                <a:spLocks noChangeAspect="1" noChangeArrowheads="1"/>
              </p:cNvSpPr>
              <p:nvPr/>
            </p:nvSpPr>
            <p:spPr bwMode="auto">
              <a:xfrm>
                <a:off x="3915" y="2557"/>
                <a:ext cx="327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en-US" sz="800" dirty="0">
                    <a:ea typeface="MS PGothic" pitchFamily="34" charset="-128"/>
                  </a:rPr>
                  <a:t>NB-</a:t>
                </a:r>
                <a:r>
                  <a:rPr lang="en-US" altLang="en-US" sz="800" dirty="0" err="1">
                    <a:ea typeface="MS PGothic" pitchFamily="34" charset="-128"/>
                  </a:rPr>
                  <a:t>IoT</a:t>
                </a:r>
                <a:r>
                  <a:rPr lang="en-US" altLang="en-US" sz="1400" dirty="0">
                    <a:ea typeface="MS PGothic" pitchFamily="34" charset="-128"/>
                  </a:rPr>
                  <a:t> </a:t>
                </a:r>
              </a:p>
            </p:txBody>
          </p:sp>
          <p:sp>
            <p:nvSpPr>
              <p:cNvPr id="43" name="Rectangle 121">
                <a:extLst>
                  <a:ext uri="{FF2B5EF4-FFF2-40B4-BE49-F238E27FC236}">
                    <a16:creationId xmlns:a16="http://schemas.microsoft.com/office/drawing/2014/main" id="{38A7D4B6-B623-4919-AA5E-72E31AEC1FEF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898" y="2274"/>
                <a:ext cx="363" cy="5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2000" rIns="7200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44" name="Freeform 11">
                <a:extLst>
                  <a:ext uri="{FF2B5EF4-FFF2-40B4-BE49-F238E27FC236}">
                    <a16:creationId xmlns:a16="http://schemas.microsoft.com/office/drawing/2014/main" id="{0D8A006D-C8F5-491F-9400-8C377F755A7C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898" y="2274"/>
                <a:ext cx="363" cy="520"/>
              </a:xfrm>
              <a:custGeom>
                <a:avLst/>
                <a:gdLst>
                  <a:gd name="T0" fmla="*/ 352657 w 410"/>
                  <a:gd name="T1" fmla="*/ 190313 h 589"/>
                  <a:gd name="T2" fmla="*/ 345639 w 410"/>
                  <a:gd name="T3" fmla="*/ 196962 h 589"/>
                  <a:gd name="T4" fmla="*/ 345639 w 410"/>
                  <a:gd name="T5" fmla="*/ 456254 h 589"/>
                  <a:gd name="T6" fmla="*/ 324585 w 410"/>
                  <a:gd name="T7" fmla="*/ 476199 h 589"/>
                  <a:gd name="T8" fmla="*/ 35967 w 410"/>
                  <a:gd name="T9" fmla="*/ 476199 h 589"/>
                  <a:gd name="T10" fmla="*/ 14036 w 410"/>
                  <a:gd name="T11" fmla="*/ 456254 h 589"/>
                  <a:gd name="T12" fmla="*/ 14036 w 410"/>
                  <a:gd name="T13" fmla="*/ 170368 h 589"/>
                  <a:gd name="T14" fmla="*/ 179837 w 410"/>
                  <a:gd name="T15" fmla="*/ 13297 h 589"/>
                  <a:gd name="T16" fmla="*/ 345639 w 410"/>
                  <a:gd name="T17" fmla="*/ 170368 h 589"/>
                  <a:gd name="T18" fmla="*/ 352657 w 410"/>
                  <a:gd name="T19" fmla="*/ 177016 h 589"/>
                  <a:gd name="T20" fmla="*/ 359675 w 410"/>
                  <a:gd name="T21" fmla="*/ 170368 h 589"/>
                  <a:gd name="T22" fmla="*/ 359675 w 410"/>
                  <a:gd name="T23" fmla="*/ 170368 h 589"/>
                  <a:gd name="T24" fmla="*/ 179837 w 410"/>
                  <a:gd name="T25" fmla="*/ 0 h 589"/>
                  <a:gd name="T26" fmla="*/ 0 w 410"/>
                  <a:gd name="T27" fmla="*/ 170368 h 589"/>
                  <a:gd name="T28" fmla="*/ 877 w 410"/>
                  <a:gd name="T29" fmla="*/ 456254 h 589"/>
                  <a:gd name="T30" fmla="*/ 35967 w 410"/>
                  <a:gd name="T31" fmla="*/ 489497 h 589"/>
                  <a:gd name="T32" fmla="*/ 324585 w 410"/>
                  <a:gd name="T33" fmla="*/ 489497 h 589"/>
                  <a:gd name="T34" fmla="*/ 359675 w 410"/>
                  <a:gd name="T35" fmla="*/ 456254 h 589"/>
                  <a:gd name="T36" fmla="*/ 359675 w 410"/>
                  <a:gd name="T37" fmla="*/ 196962 h 589"/>
                  <a:gd name="T38" fmla="*/ 352657 w 410"/>
                  <a:gd name="T39" fmla="*/ 190313 h 589"/>
                  <a:gd name="T40" fmla="*/ 195628 w 410"/>
                  <a:gd name="T41" fmla="*/ 220232 h 589"/>
                  <a:gd name="T42" fmla="*/ 222824 w 410"/>
                  <a:gd name="T43" fmla="*/ 159564 h 589"/>
                  <a:gd name="T44" fmla="*/ 195628 w 410"/>
                  <a:gd name="T45" fmla="*/ 98065 h 589"/>
                  <a:gd name="T46" fmla="*/ 185977 w 410"/>
                  <a:gd name="T47" fmla="*/ 98065 h 589"/>
                  <a:gd name="T48" fmla="*/ 185977 w 410"/>
                  <a:gd name="T49" fmla="*/ 108038 h 589"/>
                  <a:gd name="T50" fmla="*/ 185977 w 410"/>
                  <a:gd name="T51" fmla="*/ 108038 h 589"/>
                  <a:gd name="T52" fmla="*/ 208787 w 410"/>
                  <a:gd name="T53" fmla="*/ 159564 h 589"/>
                  <a:gd name="T54" fmla="*/ 185977 w 410"/>
                  <a:gd name="T55" fmla="*/ 211090 h 589"/>
                  <a:gd name="T56" fmla="*/ 184224 w 410"/>
                  <a:gd name="T57" fmla="*/ 216076 h 589"/>
                  <a:gd name="T58" fmla="*/ 185977 w 410"/>
                  <a:gd name="T59" fmla="*/ 220232 h 589"/>
                  <a:gd name="T60" fmla="*/ 195628 w 410"/>
                  <a:gd name="T61" fmla="*/ 220232 h 589"/>
                  <a:gd name="T62" fmla="*/ 158783 w 410"/>
                  <a:gd name="T63" fmla="*/ 191976 h 589"/>
                  <a:gd name="T64" fmla="*/ 160538 w 410"/>
                  <a:gd name="T65" fmla="*/ 196132 h 589"/>
                  <a:gd name="T66" fmla="*/ 170188 w 410"/>
                  <a:gd name="T67" fmla="*/ 196132 h 589"/>
                  <a:gd name="T68" fmla="*/ 186854 w 410"/>
                  <a:gd name="T69" fmla="*/ 159564 h 589"/>
                  <a:gd name="T70" fmla="*/ 170188 w 410"/>
                  <a:gd name="T71" fmla="*/ 122166 h 589"/>
                  <a:gd name="T72" fmla="*/ 160538 w 410"/>
                  <a:gd name="T73" fmla="*/ 122166 h 589"/>
                  <a:gd name="T74" fmla="*/ 160538 w 410"/>
                  <a:gd name="T75" fmla="*/ 132138 h 589"/>
                  <a:gd name="T76" fmla="*/ 172819 w 410"/>
                  <a:gd name="T77" fmla="*/ 159564 h 589"/>
                  <a:gd name="T78" fmla="*/ 160538 w 410"/>
                  <a:gd name="T79" fmla="*/ 186990 h 589"/>
                  <a:gd name="T80" fmla="*/ 158783 w 410"/>
                  <a:gd name="T81" fmla="*/ 191976 h 589"/>
                  <a:gd name="T82" fmla="*/ 221069 w 410"/>
                  <a:gd name="T83" fmla="*/ 244333 h 589"/>
                  <a:gd name="T84" fmla="*/ 258790 w 410"/>
                  <a:gd name="T85" fmla="*/ 159564 h 589"/>
                  <a:gd name="T86" fmla="*/ 221069 w 410"/>
                  <a:gd name="T87" fmla="*/ 74795 h 589"/>
                  <a:gd name="T88" fmla="*/ 211418 w 410"/>
                  <a:gd name="T89" fmla="*/ 74795 h 589"/>
                  <a:gd name="T90" fmla="*/ 211418 w 410"/>
                  <a:gd name="T91" fmla="*/ 83937 h 589"/>
                  <a:gd name="T92" fmla="*/ 211418 w 410"/>
                  <a:gd name="T93" fmla="*/ 83937 h 589"/>
                  <a:gd name="T94" fmla="*/ 244754 w 410"/>
                  <a:gd name="T95" fmla="*/ 159564 h 589"/>
                  <a:gd name="T96" fmla="*/ 211418 w 410"/>
                  <a:gd name="T97" fmla="*/ 235190 h 589"/>
                  <a:gd name="T98" fmla="*/ 209664 w 410"/>
                  <a:gd name="T99" fmla="*/ 240177 h 589"/>
                  <a:gd name="T100" fmla="*/ 211418 w 410"/>
                  <a:gd name="T101" fmla="*/ 244333 h 589"/>
                  <a:gd name="T102" fmla="*/ 221069 w 410"/>
                  <a:gd name="T103" fmla="*/ 244333 h 589"/>
                  <a:gd name="T104" fmla="*/ 109657 w 410"/>
                  <a:gd name="T105" fmla="*/ 144604 h 589"/>
                  <a:gd name="T106" fmla="*/ 109657 w 410"/>
                  <a:gd name="T107" fmla="*/ 174523 h 589"/>
                  <a:gd name="T108" fmla="*/ 141238 w 410"/>
                  <a:gd name="T109" fmla="*/ 174523 h 589"/>
                  <a:gd name="T110" fmla="*/ 141238 w 410"/>
                  <a:gd name="T111" fmla="*/ 144604 h 589"/>
                  <a:gd name="T112" fmla="*/ 109657 w 410"/>
                  <a:gd name="T113" fmla="*/ 144604 h 5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10"/>
                  <a:gd name="T172" fmla="*/ 0 h 589"/>
                  <a:gd name="T173" fmla="*/ 410 w 410"/>
                  <a:gd name="T174" fmla="*/ 589 h 5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10" h="589">
                    <a:moveTo>
                      <a:pt x="402" y="229"/>
                    </a:moveTo>
                    <a:cubicBezTo>
                      <a:pt x="397" y="229"/>
                      <a:pt x="394" y="233"/>
                      <a:pt x="394" y="237"/>
                    </a:cubicBezTo>
                    <a:cubicBezTo>
                      <a:pt x="394" y="549"/>
                      <a:pt x="394" y="549"/>
                      <a:pt x="394" y="549"/>
                    </a:cubicBezTo>
                    <a:cubicBezTo>
                      <a:pt x="394" y="563"/>
                      <a:pt x="383" y="573"/>
                      <a:pt x="370" y="573"/>
                    </a:cubicBezTo>
                    <a:cubicBezTo>
                      <a:pt x="41" y="573"/>
                      <a:pt x="41" y="573"/>
                      <a:pt x="41" y="573"/>
                    </a:cubicBezTo>
                    <a:cubicBezTo>
                      <a:pt x="27" y="573"/>
                      <a:pt x="17" y="563"/>
                      <a:pt x="16" y="549"/>
                    </a:cubicBezTo>
                    <a:cubicBezTo>
                      <a:pt x="16" y="205"/>
                      <a:pt x="16" y="205"/>
                      <a:pt x="16" y="205"/>
                    </a:cubicBezTo>
                    <a:cubicBezTo>
                      <a:pt x="17" y="101"/>
                      <a:pt x="101" y="16"/>
                      <a:pt x="205" y="16"/>
                    </a:cubicBezTo>
                    <a:cubicBezTo>
                      <a:pt x="309" y="16"/>
                      <a:pt x="394" y="101"/>
                      <a:pt x="394" y="205"/>
                    </a:cubicBezTo>
                    <a:cubicBezTo>
                      <a:pt x="394" y="209"/>
                      <a:pt x="397" y="213"/>
                      <a:pt x="402" y="213"/>
                    </a:cubicBezTo>
                    <a:cubicBezTo>
                      <a:pt x="406" y="213"/>
                      <a:pt x="410" y="209"/>
                      <a:pt x="410" y="205"/>
                    </a:cubicBezTo>
                    <a:cubicBezTo>
                      <a:pt x="410" y="205"/>
                      <a:pt x="410" y="205"/>
                      <a:pt x="410" y="205"/>
                    </a:cubicBezTo>
                    <a:cubicBezTo>
                      <a:pt x="410" y="92"/>
                      <a:pt x="318" y="0"/>
                      <a:pt x="205" y="0"/>
                    </a:cubicBezTo>
                    <a:cubicBezTo>
                      <a:pt x="92" y="0"/>
                      <a:pt x="0" y="92"/>
                      <a:pt x="0" y="205"/>
                    </a:cubicBezTo>
                    <a:cubicBezTo>
                      <a:pt x="1" y="549"/>
                      <a:pt x="1" y="549"/>
                      <a:pt x="1" y="549"/>
                    </a:cubicBezTo>
                    <a:cubicBezTo>
                      <a:pt x="1" y="571"/>
                      <a:pt x="18" y="589"/>
                      <a:pt x="41" y="589"/>
                    </a:cubicBezTo>
                    <a:cubicBezTo>
                      <a:pt x="370" y="589"/>
                      <a:pt x="370" y="589"/>
                      <a:pt x="370" y="589"/>
                    </a:cubicBezTo>
                    <a:cubicBezTo>
                      <a:pt x="392" y="589"/>
                      <a:pt x="410" y="571"/>
                      <a:pt x="410" y="549"/>
                    </a:cubicBezTo>
                    <a:cubicBezTo>
                      <a:pt x="410" y="237"/>
                      <a:pt x="410" y="237"/>
                      <a:pt x="410" y="237"/>
                    </a:cubicBezTo>
                    <a:cubicBezTo>
                      <a:pt x="410" y="233"/>
                      <a:pt x="406" y="229"/>
                      <a:pt x="402" y="229"/>
                    </a:cubicBezTo>
                    <a:moveTo>
                      <a:pt x="223" y="265"/>
                    </a:moveTo>
                    <a:cubicBezTo>
                      <a:pt x="243" y="245"/>
                      <a:pt x="254" y="218"/>
                      <a:pt x="254" y="192"/>
                    </a:cubicBezTo>
                    <a:cubicBezTo>
                      <a:pt x="254" y="165"/>
                      <a:pt x="243" y="139"/>
                      <a:pt x="223" y="118"/>
                    </a:cubicBezTo>
                    <a:cubicBezTo>
                      <a:pt x="220" y="115"/>
                      <a:pt x="215" y="115"/>
                      <a:pt x="212" y="118"/>
                    </a:cubicBezTo>
                    <a:cubicBezTo>
                      <a:pt x="209" y="122"/>
                      <a:pt x="209" y="127"/>
                      <a:pt x="212" y="130"/>
                    </a:cubicBezTo>
                    <a:cubicBezTo>
                      <a:pt x="212" y="130"/>
                      <a:pt x="212" y="130"/>
                      <a:pt x="212" y="130"/>
                    </a:cubicBezTo>
                    <a:cubicBezTo>
                      <a:pt x="229" y="147"/>
                      <a:pt x="238" y="169"/>
                      <a:pt x="238" y="192"/>
                    </a:cubicBezTo>
                    <a:cubicBezTo>
                      <a:pt x="238" y="214"/>
                      <a:pt x="229" y="237"/>
                      <a:pt x="212" y="254"/>
                    </a:cubicBezTo>
                    <a:cubicBezTo>
                      <a:pt x="210" y="256"/>
                      <a:pt x="210" y="258"/>
                      <a:pt x="210" y="260"/>
                    </a:cubicBezTo>
                    <a:cubicBezTo>
                      <a:pt x="210" y="262"/>
                      <a:pt x="210" y="264"/>
                      <a:pt x="212" y="265"/>
                    </a:cubicBezTo>
                    <a:cubicBezTo>
                      <a:pt x="215" y="268"/>
                      <a:pt x="220" y="268"/>
                      <a:pt x="223" y="265"/>
                    </a:cubicBezTo>
                    <a:moveTo>
                      <a:pt x="181" y="231"/>
                    </a:moveTo>
                    <a:cubicBezTo>
                      <a:pt x="181" y="233"/>
                      <a:pt x="181" y="235"/>
                      <a:pt x="183" y="236"/>
                    </a:cubicBezTo>
                    <a:cubicBezTo>
                      <a:pt x="186" y="239"/>
                      <a:pt x="191" y="239"/>
                      <a:pt x="194" y="236"/>
                    </a:cubicBezTo>
                    <a:cubicBezTo>
                      <a:pt x="206" y="224"/>
                      <a:pt x="213" y="208"/>
                      <a:pt x="213" y="192"/>
                    </a:cubicBezTo>
                    <a:cubicBezTo>
                      <a:pt x="213" y="176"/>
                      <a:pt x="206" y="160"/>
                      <a:pt x="194" y="147"/>
                    </a:cubicBezTo>
                    <a:cubicBezTo>
                      <a:pt x="191" y="144"/>
                      <a:pt x="186" y="144"/>
                      <a:pt x="183" y="147"/>
                    </a:cubicBezTo>
                    <a:cubicBezTo>
                      <a:pt x="180" y="151"/>
                      <a:pt x="180" y="156"/>
                      <a:pt x="183" y="159"/>
                    </a:cubicBezTo>
                    <a:cubicBezTo>
                      <a:pt x="192" y="168"/>
                      <a:pt x="197" y="180"/>
                      <a:pt x="197" y="192"/>
                    </a:cubicBezTo>
                    <a:cubicBezTo>
                      <a:pt x="197" y="204"/>
                      <a:pt x="192" y="216"/>
                      <a:pt x="183" y="225"/>
                    </a:cubicBezTo>
                    <a:cubicBezTo>
                      <a:pt x="181" y="227"/>
                      <a:pt x="181" y="229"/>
                      <a:pt x="181" y="231"/>
                    </a:cubicBezTo>
                    <a:moveTo>
                      <a:pt x="252" y="294"/>
                    </a:moveTo>
                    <a:cubicBezTo>
                      <a:pt x="280" y="266"/>
                      <a:pt x="295" y="229"/>
                      <a:pt x="295" y="192"/>
                    </a:cubicBezTo>
                    <a:cubicBezTo>
                      <a:pt x="295" y="155"/>
                      <a:pt x="280" y="118"/>
                      <a:pt x="252" y="90"/>
                    </a:cubicBezTo>
                    <a:cubicBezTo>
                      <a:pt x="249" y="86"/>
                      <a:pt x="244" y="86"/>
                      <a:pt x="241" y="90"/>
                    </a:cubicBezTo>
                    <a:cubicBezTo>
                      <a:pt x="238" y="93"/>
                      <a:pt x="238" y="98"/>
                      <a:pt x="241" y="101"/>
                    </a:cubicBezTo>
                    <a:cubicBezTo>
                      <a:pt x="241" y="101"/>
                      <a:pt x="241" y="101"/>
                      <a:pt x="241" y="101"/>
                    </a:cubicBezTo>
                    <a:cubicBezTo>
                      <a:pt x="266" y="126"/>
                      <a:pt x="279" y="159"/>
                      <a:pt x="279" y="192"/>
                    </a:cubicBezTo>
                    <a:cubicBezTo>
                      <a:pt x="279" y="225"/>
                      <a:pt x="266" y="258"/>
                      <a:pt x="241" y="283"/>
                    </a:cubicBezTo>
                    <a:cubicBezTo>
                      <a:pt x="239" y="285"/>
                      <a:pt x="239" y="287"/>
                      <a:pt x="239" y="289"/>
                    </a:cubicBezTo>
                    <a:cubicBezTo>
                      <a:pt x="239" y="291"/>
                      <a:pt x="239" y="293"/>
                      <a:pt x="241" y="294"/>
                    </a:cubicBezTo>
                    <a:cubicBezTo>
                      <a:pt x="244" y="297"/>
                      <a:pt x="249" y="297"/>
                      <a:pt x="252" y="294"/>
                    </a:cubicBezTo>
                    <a:moveTo>
                      <a:pt x="125" y="174"/>
                    </a:moveTo>
                    <a:cubicBezTo>
                      <a:pt x="115" y="184"/>
                      <a:pt x="115" y="200"/>
                      <a:pt x="125" y="210"/>
                    </a:cubicBezTo>
                    <a:cubicBezTo>
                      <a:pt x="135" y="220"/>
                      <a:pt x="151" y="220"/>
                      <a:pt x="161" y="210"/>
                    </a:cubicBezTo>
                    <a:cubicBezTo>
                      <a:pt x="171" y="200"/>
                      <a:pt x="171" y="184"/>
                      <a:pt x="161" y="174"/>
                    </a:cubicBezTo>
                    <a:cubicBezTo>
                      <a:pt x="151" y="164"/>
                      <a:pt x="135" y="164"/>
                      <a:pt x="125" y="17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tIns="1080000" anchor="ctr"/>
              <a:lstStyle/>
              <a:p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570BDF9-5309-44E5-BC8E-DB121696B08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178705" y="3796966"/>
              <a:ext cx="366813" cy="525462"/>
              <a:chOff x="3898" y="2274"/>
              <a:chExt cx="363" cy="520"/>
            </a:xfrm>
          </p:grpSpPr>
          <p:sp>
            <p:nvSpPr>
              <p:cNvPr id="46" name="AutoShape 118">
                <a:extLst>
                  <a:ext uri="{FF2B5EF4-FFF2-40B4-BE49-F238E27FC236}">
                    <a16:creationId xmlns:a16="http://schemas.microsoft.com/office/drawing/2014/main" id="{F625BCE6-9A08-4D56-AE29-336404E7BA0C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905" y="2422"/>
                <a:ext cx="350" cy="366"/>
              </a:xfrm>
              <a:prstGeom prst="roundRect">
                <a:avLst>
                  <a:gd name="adj" fmla="val 9356"/>
                </a:avLst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0E4BC8AF-51C1-47BD-B21A-D3AE3DE88C83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903" y="2281"/>
                <a:ext cx="352" cy="355"/>
              </a:xfrm>
              <a:prstGeom prst="ellipse">
                <a:avLst/>
              </a:prstGeom>
              <a:solidFill>
                <a:schemeClr val="bg1"/>
              </a:solidFill>
              <a:ln w="12700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48" name="Text Box 120">
                <a:extLst>
                  <a:ext uri="{FF2B5EF4-FFF2-40B4-BE49-F238E27FC236}">
                    <a16:creationId xmlns:a16="http://schemas.microsoft.com/office/drawing/2014/main" id="{4676683B-453D-4546-92BC-D1C57D4E83D6}"/>
                  </a:ext>
                </a:extLst>
              </p:cNvPr>
              <p:cNvSpPr txBox="1">
                <a:spLocks noChangeAspect="1" noChangeArrowheads="1"/>
              </p:cNvSpPr>
              <p:nvPr/>
            </p:nvSpPr>
            <p:spPr bwMode="auto">
              <a:xfrm>
                <a:off x="3915" y="2557"/>
                <a:ext cx="327" cy="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lnSpc>
                    <a:spcPct val="80000"/>
                  </a:lnSpc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en-US" sz="800" dirty="0">
                    <a:ea typeface="MS PGothic" pitchFamily="34" charset="-128"/>
                  </a:rPr>
                  <a:t>EC-GSM</a:t>
                </a:r>
                <a:r>
                  <a:rPr lang="en-US" altLang="en-US" sz="1400" dirty="0">
                    <a:ea typeface="MS PGothic" pitchFamily="34" charset="-128"/>
                  </a:rPr>
                  <a:t> </a:t>
                </a: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8B71E045-B465-4F76-882B-9038031126DB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898" y="2274"/>
                <a:ext cx="363" cy="5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72000" rIns="72000" anchor="ctr"/>
              <a:lstStyle>
                <a:lvl1pPr algn="l" eaLnBrk="0" hangingPunct="0">
                  <a:spcBef>
                    <a:spcPct val="20000"/>
                  </a:spcBef>
                  <a:buClr>
                    <a:srgbClr val="00A9D4"/>
                  </a:buClr>
                  <a:buFont typeface="Arial" charset="0"/>
                  <a:buChar char="›"/>
                  <a:defRPr sz="24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–"/>
                  <a:defRPr sz="2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rgbClr val="92CCE5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-"/>
                  <a:defRPr sz="20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itchFamily="2" charset="0"/>
                  <a:buChar char="›"/>
                  <a:defRPr sz="20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FontTx/>
                  <a:buNone/>
                </a:pPr>
                <a:endParaRPr lang="sv-SE" altLang="en-US" sz="2000"/>
              </a:p>
            </p:txBody>
          </p:sp>
          <p:sp>
            <p:nvSpPr>
              <p:cNvPr id="50" name="Freeform 11">
                <a:extLst>
                  <a:ext uri="{FF2B5EF4-FFF2-40B4-BE49-F238E27FC236}">
                    <a16:creationId xmlns:a16="http://schemas.microsoft.com/office/drawing/2014/main" id="{3CCF77B6-12B4-4DE7-A325-9D387053B51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3898" y="2274"/>
                <a:ext cx="363" cy="520"/>
              </a:xfrm>
              <a:custGeom>
                <a:avLst/>
                <a:gdLst>
                  <a:gd name="T0" fmla="*/ 352657 w 410"/>
                  <a:gd name="T1" fmla="*/ 190313 h 589"/>
                  <a:gd name="T2" fmla="*/ 345639 w 410"/>
                  <a:gd name="T3" fmla="*/ 196962 h 589"/>
                  <a:gd name="T4" fmla="*/ 345639 w 410"/>
                  <a:gd name="T5" fmla="*/ 456254 h 589"/>
                  <a:gd name="T6" fmla="*/ 324585 w 410"/>
                  <a:gd name="T7" fmla="*/ 476199 h 589"/>
                  <a:gd name="T8" fmla="*/ 35967 w 410"/>
                  <a:gd name="T9" fmla="*/ 476199 h 589"/>
                  <a:gd name="T10" fmla="*/ 14036 w 410"/>
                  <a:gd name="T11" fmla="*/ 456254 h 589"/>
                  <a:gd name="T12" fmla="*/ 14036 w 410"/>
                  <a:gd name="T13" fmla="*/ 170368 h 589"/>
                  <a:gd name="T14" fmla="*/ 179837 w 410"/>
                  <a:gd name="T15" fmla="*/ 13297 h 589"/>
                  <a:gd name="T16" fmla="*/ 345639 w 410"/>
                  <a:gd name="T17" fmla="*/ 170368 h 589"/>
                  <a:gd name="T18" fmla="*/ 352657 w 410"/>
                  <a:gd name="T19" fmla="*/ 177016 h 589"/>
                  <a:gd name="T20" fmla="*/ 359675 w 410"/>
                  <a:gd name="T21" fmla="*/ 170368 h 589"/>
                  <a:gd name="T22" fmla="*/ 359675 w 410"/>
                  <a:gd name="T23" fmla="*/ 170368 h 589"/>
                  <a:gd name="T24" fmla="*/ 179837 w 410"/>
                  <a:gd name="T25" fmla="*/ 0 h 589"/>
                  <a:gd name="T26" fmla="*/ 0 w 410"/>
                  <a:gd name="T27" fmla="*/ 170368 h 589"/>
                  <a:gd name="T28" fmla="*/ 877 w 410"/>
                  <a:gd name="T29" fmla="*/ 456254 h 589"/>
                  <a:gd name="T30" fmla="*/ 35967 w 410"/>
                  <a:gd name="T31" fmla="*/ 489497 h 589"/>
                  <a:gd name="T32" fmla="*/ 324585 w 410"/>
                  <a:gd name="T33" fmla="*/ 489497 h 589"/>
                  <a:gd name="T34" fmla="*/ 359675 w 410"/>
                  <a:gd name="T35" fmla="*/ 456254 h 589"/>
                  <a:gd name="T36" fmla="*/ 359675 w 410"/>
                  <a:gd name="T37" fmla="*/ 196962 h 589"/>
                  <a:gd name="T38" fmla="*/ 352657 w 410"/>
                  <a:gd name="T39" fmla="*/ 190313 h 589"/>
                  <a:gd name="T40" fmla="*/ 195628 w 410"/>
                  <a:gd name="T41" fmla="*/ 220232 h 589"/>
                  <a:gd name="T42" fmla="*/ 222824 w 410"/>
                  <a:gd name="T43" fmla="*/ 159564 h 589"/>
                  <a:gd name="T44" fmla="*/ 195628 w 410"/>
                  <a:gd name="T45" fmla="*/ 98065 h 589"/>
                  <a:gd name="T46" fmla="*/ 185977 w 410"/>
                  <a:gd name="T47" fmla="*/ 98065 h 589"/>
                  <a:gd name="T48" fmla="*/ 185977 w 410"/>
                  <a:gd name="T49" fmla="*/ 108038 h 589"/>
                  <a:gd name="T50" fmla="*/ 185977 w 410"/>
                  <a:gd name="T51" fmla="*/ 108038 h 589"/>
                  <a:gd name="T52" fmla="*/ 208787 w 410"/>
                  <a:gd name="T53" fmla="*/ 159564 h 589"/>
                  <a:gd name="T54" fmla="*/ 185977 w 410"/>
                  <a:gd name="T55" fmla="*/ 211090 h 589"/>
                  <a:gd name="T56" fmla="*/ 184224 w 410"/>
                  <a:gd name="T57" fmla="*/ 216076 h 589"/>
                  <a:gd name="T58" fmla="*/ 185977 w 410"/>
                  <a:gd name="T59" fmla="*/ 220232 h 589"/>
                  <a:gd name="T60" fmla="*/ 195628 w 410"/>
                  <a:gd name="T61" fmla="*/ 220232 h 589"/>
                  <a:gd name="T62" fmla="*/ 158783 w 410"/>
                  <a:gd name="T63" fmla="*/ 191976 h 589"/>
                  <a:gd name="T64" fmla="*/ 160538 w 410"/>
                  <a:gd name="T65" fmla="*/ 196132 h 589"/>
                  <a:gd name="T66" fmla="*/ 170188 w 410"/>
                  <a:gd name="T67" fmla="*/ 196132 h 589"/>
                  <a:gd name="T68" fmla="*/ 186854 w 410"/>
                  <a:gd name="T69" fmla="*/ 159564 h 589"/>
                  <a:gd name="T70" fmla="*/ 170188 w 410"/>
                  <a:gd name="T71" fmla="*/ 122166 h 589"/>
                  <a:gd name="T72" fmla="*/ 160538 w 410"/>
                  <a:gd name="T73" fmla="*/ 122166 h 589"/>
                  <a:gd name="T74" fmla="*/ 160538 w 410"/>
                  <a:gd name="T75" fmla="*/ 132138 h 589"/>
                  <a:gd name="T76" fmla="*/ 172819 w 410"/>
                  <a:gd name="T77" fmla="*/ 159564 h 589"/>
                  <a:gd name="T78" fmla="*/ 160538 w 410"/>
                  <a:gd name="T79" fmla="*/ 186990 h 589"/>
                  <a:gd name="T80" fmla="*/ 158783 w 410"/>
                  <a:gd name="T81" fmla="*/ 191976 h 589"/>
                  <a:gd name="T82" fmla="*/ 221069 w 410"/>
                  <a:gd name="T83" fmla="*/ 244333 h 589"/>
                  <a:gd name="T84" fmla="*/ 258790 w 410"/>
                  <a:gd name="T85" fmla="*/ 159564 h 589"/>
                  <a:gd name="T86" fmla="*/ 221069 w 410"/>
                  <a:gd name="T87" fmla="*/ 74795 h 589"/>
                  <a:gd name="T88" fmla="*/ 211418 w 410"/>
                  <a:gd name="T89" fmla="*/ 74795 h 589"/>
                  <a:gd name="T90" fmla="*/ 211418 w 410"/>
                  <a:gd name="T91" fmla="*/ 83937 h 589"/>
                  <a:gd name="T92" fmla="*/ 211418 w 410"/>
                  <a:gd name="T93" fmla="*/ 83937 h 589"/>
                  <a:gd name="T94" fmla="*/ 244754 w 410"/>
                  <a:gd name="T95" fmla="*/ 159564 h 589"/>
                  <a:gd name="T96" fmla="*/ 211418 w 410"/>
                  <a:gd name="T97" fmla="*/ 235190 h 589"/>
                  <a:gd name="T98" fmla="*/ 209664 w 410"/>
                  <a:gd name="T99" fmla="*/ 240177 h 589"/>
                  <a:gd name="T100" fmla="*/ 211418 w 410"/>
                  <a:gd name="T101" fmla="*/ 244333 h 589"/>
                  <a:gd name="T102" fmla="*/ 221069 w 410"/>
                  <a:gd name="T103" fmla="*/ 244333 h 589"/>
                  <a:gd name="T104" fmla="*/ 109657 w 410"/>
                  <a:gd name="T105" fmla="*/ 144604 h 589"/>
                  <a:gd name="T106" fmla="*/ 109657 w 410"/>
                  <a:gd name="T107" fmla="*/ 174523 h 589"/>
                  <a:gd name="T108" fmla="*/ 141238 w 410"/>
                  <a:gd name="T109" fmla="*/ 174523 h 589"/>
                  <a:gd name="T110" fmla="*/ 141238 w 410"/>
                  <a:gd name="T111" fmla="*/ 144604 h 589"/>
                  <a:gd name="T112" fmla="*/ 109657 w 410"/>
                  <a:gd name="T113" fmla="*/ 144604 h 5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10"/>
                  <a:gd name="T172" fmla="*/ 0 h 589"/>
                  <a:gd name="T173" fmla="*/ 410 w 410"/>
                  <a:gd name="T174" fmla="*/ 589 h 5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10" h="589">
                    <a:moveTo>
                      <a:pt x="402" y="229"/>
                    </a:moveTo>
                    <a:cubicBezTo>
                      <a:pt x="397" y="229"/>
                      <a:pt x="394" y="233"/>
                      <a:pt x="394" y="237"/>
                    </a:cubicBezTo>
                    <a:cubicBezTo>
                      <a:pt x="394" y="549"/>
                      <a:pt x="394" y="549"/>
                      <a:pt x="394" y="549"/>
                    </a:cubicBezTo>
                    <a:cubicBezTo>
                      <a:pt x="394" y="563"/>
                      <a:pt x="383" y="573"/>
                      <a:pt x="370" y="573"/>
                    </a:cubicBezTo>
                    <a:cubicBezTo>
                      <a:pt x="41" y="573"/>
                      <a:pt x="41" y="573"/>
                      <a:pt x="41" y="573"/>
                    </a:cubicBezTo>
                    <a:cubicBezTo>
                      <a:pt x="27" y="573"/>
                      <a:pt x="17" y="563"/>
                      <a:pt x="16" y="549"/>
                    </a:cubicBezTo>
                    <a:cubicBezTo>
                      <a:pt x="16" y="205"/>
                      <a:pt x="16" y="205"/>
                      <a:pt x="16" y="205"/>
                    </a:cubicBezTo>
                    <a:cubicBezTo>
                      <a:pt x="17" y="101"/>
                      <a:pt x="101" y="16"/>
                      <a:pt x="205" y="16"/>
                    </a:cubicBezTo>
                    <a:cubicBezTo>
                      <a:pt x="309" y="16"/>
                      <a:pt x="394" y="101"/>
                      <a:pt x="394" y="205"/>
                    </a:cubicBezTo>
                    <a:cubicBezTo>
                      <a:pt x="394" y="209"/>
                      <a:pt x="397" y="213"/>
                      <a:pt x="402" y="213"/>
                    </a:cubicBezTo>
                    <a:cubicBezTo>
                      <a:pt x="406" y="213"/>
                      <a:pt x="410" y="209"/>
                      <a:pt x="410" y="205"/>
                    </a:cubicBezTo>
                    <a:cubicBezTo>
                      <a:pt x="410" y="205"/>
                      <a:pt x="410" y="205"/>
                      <a:pt x="410" y="205"/>
                    </a:cubicBezTo>
                    <a:cubicBezTo>
                      <a:pt x="410" y="92"/>
                      <a:pt x="318" y="0"/>
                      <a:pt x="205" y="0"/>
                    </a:cubicBezTo>
                    <a:cubicBezTo>
                      <a:pt x="92" y="0"/>
                      <a:pt x="0" y="92"/>
                      <a:pt x="0" y="205"/>
                    </a:cubicBezTo>
                    <a:cubicBezTo>
                      <a:pt x="1" y="549"/>
                      <a:pt x="1" y="549"/>
                      <a:pt x="1" y="549"/>
                    </a:cubicBezTo>
                    <a:cubicBezTo>
                      <a:pt x="1" y="571"/>
                      <a:pt x="18" y="589"/>
                      <a:pt x="41" y="589"/>
                    </a:cubicBezTo>
                    <a:cubicBezTo>
                      <a:pt x="370" y="589"/>
                      <a:pt x="370" y="589"/>
                      <a:pt x="370" y="589"/>
                    </a:cubicBezTo>
                    <a:cubicBezTo>
                      <a:pt x="392" y="589"/>
                      <a:pt x="410" y="571"/>
                      <a:pt x="410" y="549"/>
                    </a:cubicBezTo>
                    <a:cubicBezTo>
                      <a:pt x="410" y="237"/>
                      <a:pt x="410" y="237"/>
                      <a:pt x="410" y="237"/>
                    </a:cubicBezTo>
                    <a:cubicBezTo>
                      <a:pt x="410" y="233"/>
                      <a:pt x="406" y="229"/>
                      <a:pt x="402" y="229"/>
                    </a:cubicBezTo>
                    <a:moveTo>
                      <a:pt x="223" y="265"/>
                    </a:moveTo>
                    <a:cubicBezTo>
                      <a:pt x="243" y="245"/>
                      <a:pt x="254" y="218"/>
                      <a:pt x="254" y="192"/>
                    </a:cubicBezTo>
                    <a:cubicBezTo>
                      <a:pt x="254" y="165"/>
                      <a:pt x="243" y="139"/>
                      <a:pt x="223" y="118"/>
                    </a:cubicBezTo>
                    <a:cubicBezTo>
                      <a:pt x="220" y="115"/>
                      <a:pt x="215" y="115"/>
                      <a:pt x="212" y="118"/>
                    </a:cubicBezTo>
                    <a:cubicBezTo>
                      <a:pt x="209" y="122"/>
                      <a:pt x="209" y="127"/>
                      <a:pt x="212" y="130"/>
                    </a:cubicBezTo>
                    <a:cubicBezTo>
                      <a:pt x="212" y="130"/>
                      <a:pt x="212" y="130"/>
                      <a:pt x="212" y="130"/>
                    </a:cubicBezTo>
                    <a:cubicBezTo>
                      <a:pt x="229" y="147"/>
                      <a:pt x="238" y="169"/>
                      <a:pt x="238" y="192"/>
                    </a:cubicBezTo>
                    <a:cubicBezTo>
                      <a:pt x="238" y="214"/>
                      <a:pt x="229" y="237"/>
                      <a:pt x="212" y="254"/>
                    </a:cubicBezTo>
                    <a:cubicBezTo>
                      <a:pt x="210" y="256"/>
                      <a:pt x="210" y="258"/>
                      <a:pt x="210" y="260"/>
                    </a:cubicBezTo>
                    <a:cubicBezTo>
                      <a:pt x="210" y="262"/>
                      <a:pt x="210" y="264"/>
                      <a:pt x="212" y="265"/>
                    </a:cubicBezTo>
                    <a:cubicBezTo>
                      <a:pt x="215" y="268"/>
                      <a:pt x="220" y="268"/>
                      <a:pt x="223" y="265"/>
                    </a:cubicBezTo>
                    <a:moveTo>
                      <a:pt x="181" y="231"/>
                    </a:moveTo>
                    <a:cubicBezTo>
                      <a:pt x="181" y="233"/>
                      <a:pt x="181" y="235"/>
                      <a:pt x="183" y="236"/>
                    </a:cubicBezTo>
                    <a:cubicBezTo>
                      <a:pt x="186" y="239"/>
                      <a:pt x="191" y="239"/>
                      <a:pt x="194" y="236"/>
                    </a:cubicBezTo>
                    <a:cubicBezTo>
                      <a:pt x="206" y="224"/>
                      <a:pt x="213" y="208"/>
                      <a:pt x="213" y="192"/>
                    </a:cubicBezTo>
                    <a:cubicBezTo>
                      <a:pt x="213" y="176"/>
                      <a:pt x="206" y="160"/>
                      <a:pt x="194" y="147"/>
                    </a:cubicBezTo>
                    <a:cubicBezTo>
                      <a:pt x="191" y="144"/>
                      <a:pt x="186" y="144"/>
                      <a:pt x="183" y="147"/>
                    </a:cubicBezTo>
                    <a:cubicBezTo>
                      <a:pt x="180" y="151"/>
                      <a:pt x="180" y="156"/>
                      <a:pt x="183" y="159"/>
                    </a:cubicBezTo>
                    <a:cubicBezTo>
                      <a:pt x="192" y="168"/>
                      <a:pt x="197" y="180"/>
                      <a:pt x="197" y="192"/>
                    </a:cubicBezTo>
                    <a:cubicBezTo>
                      <a:pt x="197" y="204"/>
                      <a:pt x="192" y="216"/>
                      <a:pt x="183" y="225"/>
                    </a:cubicBezTo>
                    <a:cubicBezTo>
                      <a:pt x="181" y="227"/>
                      <a:pt x="181" y="229"/>
                      <a:pt x="181" y="231"/>
                    </a:cubicBezTo>
                    <a:moveTo>
                      <a:pt x="252" y="294"/>
                    </a:moveTo>
                    <a:cubicBezTo>
                      <a:pt x="280" y="266"/>
                      <a:pt x="295" y="229"/>
                      <a:pt x="295" y="192"/>
                    </a:cubicBezTo>
                    <a:cubicBezTo>
                      <a:pt x="295" y="155"/>
                      <a:pt x="280" y="118"/>
                      <a:pt x="252" y="90"/>
                    </a:cubicBezTo>
                    <a:cubicBezTo>
                      <a:pt x="249" y="86"/>
                      <a:pt x="244" y="86"/>
                      <a:pt x="241" y="90"/>
                    </a:cubicBezTo>
                    <a:cubicBezTo>
                      <a:pt x="238" y="93"/>
                      <a:pt x="238" y="98"/>
                      <a:pt x="241" y="101"/>
                    </a:cubicBezTo>
                    <a:cubicBezTo>
                      <a:pt x="241" y="101"/>
                      <a:pt x="241" y="101"/>
                      <a:pt x="241" y="101"/>
                    </a:cubicBezTo>
                    <a:cubicBezTo>
                      <a:pt x="266" y="126"/>
                      <a:pt x="279" y="159"/>
                      <a:pt x="279" y="192"/>
                    </a:cubicBezTo>
                    <a:cubicBezTo>
                      <a:pt x="279" y="225"/>
                      <a:pt x="266" y="258"/>
                      <a:pt x="241" y="283"/>
                    </a:cubicBezTo>
                    <a:cubicBezTo>
                      <a:pt x="239" y="285"/>
                      <a:pt x="239" y="287"/>
                      <a:pt x="239" y="289"/>
                    </a:cubicBezTo>
                    <a:cubicBezTo>
                      <a:pt x="239" y="291"/>
                      <a:pt x="239" y="293"/>
                      <a:pt x="241" y="294"/>
                    </a:cubicBezTo>
                    <a:cubicBezTo>
                      <a:pt x="244" y="297"/>
                      <a:pt x="249" y="297"/>
                      <a:pt x="252" y="294"/>
                    </a:cubicBezTo>
                    <a:moveTo>
                      <a:pt x="125" y="174"/>
                    </a:moveTo>
                    <a:cubicBezTo>
                      <a:pt x="115" y="184"/>
                      <a:pt x="115" y="200"/>
                      <a:pt x="125" y="210"/>
                    </a:cubicBezTo>
                    <a:cubicBezTo>
                      <a:pt x="135" y="220"/>
                      <a:pt x="151" y="220"/>
                      <a:pt x="161" y="210"/>
                    </a:cubicBezTo>
                    <a:cubicBezTo>
                      <a:pt x="171" y="200"/>
                      <a:pt x="171" y="184"/>
                      <a:pt x="161" y="174"/>
                    </a:cubicBezTo>
                    <a:cubicBezTo>
                      <a:pt x="151" y="164"/>
                      <a:pt x="135" y="164"/>
                      <a:pt x="125" y="174"/>
                    </a:cubicBezTo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tIns="1080000" anchor="ctr"/>
              <a:lstStyle/>
              <a:p>
                <a:endParaRPr lang="en-US"/>
              </a:p>
            </p:txBody>
          </p:sp>
        </p:grpSp>
      </p:grpSp>
      <p:sp>
        <p:nvSpPr>
          <p:cNvPr id="65" name="Rectangle 64">
            <a:extLst>
              <a:ext uri="{FF2B5EF4-FFF2-40B4-BE49-F238E27FC236}">
                <a16:creationId xmlns:a16="http://schemas.microsoft.com/office/drawing/2014/main" id="{01B5E60E-9349-4476-8039-57D43F457017}"/>
              </a:ext>
            </a:extLst>
          </p:cNvPr>
          <p:cNvSpPr/>
          <p:nvPr/>
        </p:nvSpPr>
        <p:spPr>
          <a:xfrm>
            <a:off x="1930519" y="2638470"/>
            <a:ext cx="15408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R</a:t>
            </a:r>
            <a:r>
              <a:rPr lang="hu-HU" sz="1600" b="1" dirty="0">
                <a:solidFill>
                  <a:schemeClr val="bg1"/>
                </a:solidFill>
              </a:rPr>
              <a:t>á</a:t>
            </a:r>
            <a:r>
              <a:rPr lang="en-US" sz="1600" b="1" dirty="0">
                <a:solidFill>
                  <a:schemeClr val="bg1"/>
                </a:solidFill>
              </a:rPr>
              <a:t>di</a:t>
            </a:r>
            <a:r>
              <a:rPr lang="hu-HU" sz="1600" b="1" dirty="0">
                <a:solidFill>
                  <a:schemeClr val="bg1"/>
                </a:solidFill>
              </a:rPr>
              <a:t>ó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hu-HU" sz="1600" b="1" dirty="0">
                <a:solidFill>
                  <a:schemeClr val="bg1"/>
                </a:solidFill>
              </a:rPr>
              <a:t>Hálózat</a:t>
            </a:r>
            <a:endParaRPr lang="en-US" sz="1600" b="1" dirty="0">
              <a:solidFill>
                <a:schemeClr val="bg1"/>
              </a:solidFill>
            </a:endParaRPr>
          </a:p>
        </p:txBody>
      </p:sp>
      <p:cxnSp>
        <p:nvCxnSpPr>
          <p:cNvPr id="75" name="Straight Connector 4">
            <a:extLst>
              <a:ext uri="{FF2B5EF4-FFF2-40B4-BE49-F238E27FC236}">
                <a16:creationId xmlns:a16="http://schemas.microsoft.com/office/drawing/2014/main" id="{87365F8D-2CAD-4C14-9230-EECA8647F29E}"/>
              </a:ext>
            </a:extLst>
          </p:cNvPr>
          <p:cNvCxnSpPr>
            <a:cxnSpLocks noChangeShapeType="1"/>
            <a:stCxn id="86" idx="1"/>
            <a:endCxn id="28" idx="6"/>
          </p:cNvCxnSpPr>
          <p:nvPr/>
        </p:nvCxnSpPr>
        <p:spPr bwMode="auto">
          <a:xfrm flipH="1">
            <a:off x="3485080" y="4096145"/>
            <a:ext cx="306838" cy="2347"/>
          </a:xfrm>
          <a:prstGeom prst="line">
            <a:avLst/>
          </a:prstGeom>
          <a:noFill/>
          <a:ln w="19050" algn="ctr">
            <a:solidFill>
              <a:srgbClr val="00A9D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9" name="Picture 78">
            <a:extLst>
              <a:ext uri="{FF2B5EF4-FFF2-40B4-BE49-F238E27FC236}">
                <a16:creationId xmlns:a16="http://schemas.microsoft.com/office/drawing/2014/main" id="{F6E54B1B-AFF9-40CF-9ECB-7623E2B23B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5747454" y="3425451"/>
            <a:ext cx="2171230" cy="1337367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DBD7D792-62F0-4B30-892A-92244BADF97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3791918" y="3364856"/>
            <a:ext cx="1694721" cy="1462578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A52CCCE9-4EE7-4959-8001-5B1931A6A888}"/>
              </a:ext>
            </a:extLst>
          </p:cNvPr>
          <p:cNvSpPr/>
          <p:nvPr/>
        </p:nvSpPr>
        <p:spPr>
          <a:xfrm>
            <a:off x="377704" y="2606364"/>
            <a:ext cx="14830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oT </a:t>
            </a:r>
            <a:r>
              <a:rPr lang="hu-HU" sz="1600" b="1" dirty="0">
                <a:solidFill>
                  <a:schemeClr val="bg1"/>
                </a:solidFill>
              </a:rPr>
              <a:t>Eszközök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4E8D3387-364A-4F6F-8326-B6A51FB03330}"/>
              </a:ext>
            </a:extLst>
          </p:cNvPr>
          <p:cNvSpPr/>
          <p:nvPr/>
        </p:nvSpPr>
        <p:spPr>
          <a:xfrm>
            <a:off x="6201582" y="2641172"/>
            <a:ext cx="13837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oT Platform</a:t>
            </a:r>
          </a:p>
        </p:txBody>
      </p:sp>
      <p:sp>
        <p:nvSpPr>
          <p:cNvPr id="110" name="object 5">
            <a:extLst>
              <a:ext uri="{FF2B5EF4-FFF2-40B4-BE49-F238E27FC236}">
                <a16:creationId xmlns:a16="http://schemas.microsoft.com/office/drawing/2014/main" id="{7520C6D4-E443-4924-9D84-DB41EE72E92B}"/>
              </a:ext>
            </a:extLst>
          </p:cNvPr>
          <p:cNvSpPr/>
          <p:nvPr/>
        </p:nvSpPr>
        <p:spPr>
          <a:xfrm>
            <a:off x="8293799" y="3227069"/>
            <a:ext cx="1826419" cy="171352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23" name="Picture 122">
            <a:extLst>
              <a:ext uri="{FF2B5EF4-FFF2-40B4-BE49-F238E27FC236}">
                <a16:creationId xmlns:a16="http://schemas.microsoft.com/office/drawing/2014/main" id="{35323E49-93BA-43CD-89F3-B7782DE83D3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11"/>
              </a:ext>
            </a:extLst>
          </a:blip>
          <a:stretch>
            <a:fillRect/>
          </a:stretch>
        </p:blipFill>
        <p:spPr>
          <a:xfrm>
            <a:off x="10525033" y="3478255"/>
            <a:ext cx="1133275" cy="1223547"/>
          </a:xfrm>
          <a:prstGeom prst="rect">
            <a:avLst/>
          </a:prstGeom>
        </p:spPr>
      </p:pic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9C5A0352-BBE6-4283-BB4A-4916399E8B19}"/>
              </a:ext>
            </a:extLst>
          </p:cNvPr>
          <p:cNvCxnSpPr>
            <a:cxnSpLocks noChangeShapeType="1"/>
            <a:stCxn id="123" idx="1"/>
            <a:endCxn id="110" idx="3"/>
          </p:cNvCxnSpPr>
          <p:nvPr/>
        </p:nvCxnSpPr>
        <p:spPr bwMode="auto">
          <a:xfrm flipH="1" flipV="1">
            <a:off x="10120218" y="4083831"/>
            <a:ext cx="404815" cy="6198"/>
          </a:xfrm>
          <a:prstGeom prst="line">
            <a:avLst/>
          </a:prstGeom>
          <a:noFill/>
          <a:ln w="19050" algn="ctr">
            <a:solidFill>
              <a:srgbClr val="00A9D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63EF946-A919-432E-A8BA-F707E708BA07}"/>
              </a:ext>
            </a:extLst>
          </p:cNvPr>
          <p:cNvSpPr/>
          <p:nvPr/>
        </p:nvSpPr>
        <p:spPr>
          <a:xfrm>
            <a:off x="10170937" y="2497403"/>
            <a:ext cx="189866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</a:rPr>
              <a:t>Végfelhasználói</a:t>
            </a:r>
            <a:br>
              <a:rPr lang="hu-HU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IoT </a:t>
            </a:r>
            <a:r>
              <a:rPr lang="hu-HU" sz="1600" b="1" dirty="0">
                <a:solidFill>
                  <a:schemeClr val="bg1"/>
                </a:solidFill>
              </a:rPr>
              <a:t>Alkalmazások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1931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4B0EEC4-2E96-4D97-A4D7-15C9E444F5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4935" y="161058"/>
            <a:ext cx="9992784" cy="1085371"/>
          </a:xfrm>
        </p:spPr>
        <p:txBody>
          <a:bodyPr/>
          <a:lstStyle/>
          <a:p>
            <a:r>
              <a:rPr lang="en-US" dirty="0"/>
              <a:t>R</a:t>
            </a:r>
            <a:r>
              <a:rPr lang="hu-HU" dirty="0"/>
              <a:t>észletes 4G infrastruktúra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03C4D2-8601-426A-A512-171E6D6DCF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955" y="1083664"/>
            <a:ext cx="10899109" cy="5614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9928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" name="Picture 162">
            <a:extLst>
              <a:ext uri="{FF2B5EF4-FFF2-40B4-BE49-F238E27FC236}">
                <a16:creationId xmlns:a16="http://schemas.microsoft.com/office/drawing/2014/main" id="{DDB047EB-57BF-4D4A-89A8-3E88FC2F39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169" y="974185"/>
            <a:ext cx="10737130" cy="5690568"/>
          </a:xfrm>
          <a:prstGeom prst="rect">
            <a:avLst/>
          </a:prstGeom>
        </p:spPr>
      </p:pic>
      <p:sp>
        <p:nvSpPr>
          <p:cNvPr id="164" name="Title 2">
            <a:extLst>
              <a:ext uri="{FF2B5EF4-FFF2-40B4-BE49-F238E27FC236}">
                <a16:creationId xmlns:a16="http://schemas.microsoft.com/office/drawing/2014/main" id="{AE2D198F-CC24-4CBE-AFBD-407662090D86}"/>
              </a:ext>
            </a:extLst>
          </p:cNvPr>
          <p:cNvSpPr txBox="1">
            <a:spLocks/>
          </p:cNvSpPr>
          <p:nvPr/>
        </p:nvSpPr>
        <p:spPr>
          <a:xfrm>
            <a:off x="622168" y="333985"/>
            <a:ext cx="10576873" cy="561564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9pPr>
          </a:lstStyle>
          <a:p>
            <a:r>
              <a:rPr lang="hu-HU" sz="3200" kern="0" dirty="0"/>
              <a:t>Funkcionális </a:t>
            </a:r>
            <a:r>
              <a:rPr lang="en-US" sz="3200" kern="0" dirty="0"/>
              <a:t>4G massive IoT </a:t>
            </a:r>
            <a:r>
              <a:rPr lang="hu-HU" sz="3200" kern="0" dirty="0"/>
              <a:t>Architektúra</a:t>
            </a:r>
            <a:endParaRPr lang="en-US" sz="3200" kern="0" dirty="0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71F0A000-2323-4326-95F4-B483B4343A56}"/>
              </a:ext>
            </a:extLst>
          </p:cNvPr>
          <p:cNvSpPr txBox="1"/>
          <p:nvPr/>
        </p:nvSpPr>
        <p:spPr>
          <a:xfrm>
            <a:off x="5220934" y="3077499"/>
            <a:ext cx="7906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Internet</a:t>
            </a:r>
          </a:p>
        </p:txBody>
      </p:sp>
    </p:spTree>
    <p:extLst>
      <p:ext uri="{BB962C8B-B14F-4D97-AF65-F5344CB8AC3E}">
        <p14:creationId xmlns:p14="http://schemas.microsoft.com/office/powerpoint/2010/main" val="30242797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A747AACB-0C27-4841-BF8A-92FEEC959ACB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rgbClr val="99CCFF"/>
              </a:gs>
              <a:gs pos="83000">
                <a:schemeClr val="tx2">
                  <a:lumMod val="25000"/>
                  <a:lumOff val="75000"/>
                </a:schemeClr>
              </a:gs>
              <a:gs pos="100000">
                <a:schemeClr val="tx2">
                  <a:lumMod val="10000"/>
                  <a:lumOff val="90000"/>
                </a:schemeClr>
              </a:gs>
            </a:gsLst>
            <a:lin ang="5400000" scaled="1"/>
          </a:gra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hu-HU" sz="4000" dirty="0"/>
              <a:t>4G</a:t>
            </a:r>
            <a:r>
              <a:rPr lang="en-US" sz="4000" dirty="0"/>
              <a:t> IoT </a:t>
            </a:r>
            <a:r>
              <a:rPr lang="hu-HU" sz="4000" dirty="0"/>
              <a:t>– </a:t>
            </a:r>
            <a:r>
              <a:rPr lang="en-US" sz="4000" dirty="0"/>
              <a:t>3GPP </a:t>
            </a:r>
            <a:r>
              <a:rPr lang="hu-HU" sz="4000" dirty="0"/>
              <a:t>TS 24.301 </a:t>
            </a:r>
            <a:r>
              <a:rPr lang="en-US" sz="4000" dirty="0"/>
              <a:t>Rel-13</a:t>
            </a:r>
            <a:r>
              <a:rPr lang="hu-HU" sz="4000" dirty="0"/>
              <a:t> szabvány</a:t>
            </a:r>
            <a:br>
              <a:rPr lang="en-US" sz="4000" dirty="0"/>
            </a:br>
            <a:r>
              <a:rPr lang="hu-HU" sz="2800" dirty="0"/>
              <a:t>Logikai Adatcsatornák</a:t>
            </a:r>
            <a:endParaRPr lang="en-US" dirty="0"/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2133458" y="2225249"/>
            <a:ext cx="818694" cy="247501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t" anchorCtr="0"/>
          <a:lstStyle/>
          <a:p>
            <a:pPr algn="ctr"/>
            <a:r>
              <a:rPr lang="en-US" sz="1600" dirty="0" err="1"/>
              <a:t>eNB</a:t>
            </a:r>
            <a:endParaRPr lang="en-US" sz="1600" dirty="0"/>
          </a:p>
        </p:txBody>
      </p:sp>
      <p:sp>
        <p:nvSpPr>
          <p:cNvPr id="13" name="Rectangle 5"/>
          <p:cNvSpPr>
            <a:spLocks noChangeArrowheads="1"/>
          </p:cNvSpPr>
          <p:nvPr/>
        </p:nvSpPr>
        <p:spPr bwMode="auto">
          <a:xfrm>
            <a:off x="3759047" y="2225248"/>
            <a:ext cx="1061185" cy="1090934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t" anchorCtr="0"/>
          <a:lstStyle/>
          <a:p>
            <a:pPr algn="ctr"/>
            <a:r>
              <a:rPr lang="en-US" sz="1600" dirty="0"/>
              <a:t>MME</a:t>
            </a:r>
          </a:p>
        </p:txBody>
      </p:sp>
      <p:sp>
        <p:nvSpPr>
          <p:cNvPr id="15" name="Rectangle 5"/>
          <p:cNvSpPr>
            <a:spLocks noChangeArrowheads="1"/>
          </p:cNvSpPr>
          <p:nvPr/>
        </p:nvSpPr>
        <p:spPr bwMode="auto">
          <a:xfrm>
            <a:off x="3759047" y="3675444"/>
            <a:ext cx="1061185" cy="1090934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b" anchorCtr="0"/>
          <a:lstStyle/>
          <a:p>
            <a:pPr algn="ctr"/>
            <a:r>
              <a:rPr lang="en-US" sz="1600" dirty="0"/>
              <a:t>SGW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7800511" y="2225249"/>
            <a:ext cx="818694" cy="1203751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ctr" anchorCtr="0"/>
          <a:lstStyle/>
          <a:p>
            <a:pPr algn="ctr"/>
            <a:r>
              <a:rPr lang="en-US" sz="1600" dirty="0"/>
              <a:t>IoT</a:t>
            </a:r>
            <a:br>
              <a:rPr lang="en-US" sz="1600" dirty="0"/>
            </a:br>
            <a:r>
              <a:rPr lang="en-US" sz="1600" dirty="0"/>
              <a:t>GW</a:t>
            </a:r>
          </a:p>
        </p:txBody>
      </p:sp>
      <p:sp>
        <p:nvSpPr>
          <p:cNvPr id="18" name="Rectangle 5"/>
          <p:cNvSpPr>
            <a:spLocks noChangeArrowheads="1"/>
          </p:cNvSpPr>
          <p:nvPr/>
        </p:nvSpPr>
        <p:spPr bwMode="auto">
          <a:xfrm>
            <a:off x="345776" y="2225249"/>
            <a:ext cx="818694" cy="247501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t" anchorCtr="0"/>
          <a:lstStyle/>
          <a:p>
            <a:pPr algn="ctr"/>
            <a:r>
              <a:rPr lang="en-US" sz="1600" dirty="0"/>
              <a:t>Device</a:t>
            </a:r>
          </a:p>
        </p:txBody>
      </p:sp>
      <p:sp>
        <p:nvSpPr>
          <p:cNvPr id="19" name="Rectangle 5"/>
          <p:cNvSpPr>
            <a:spLocks noChangeArrowheads="1"/>
          </p:cNvSpPr>
          <p:nvPr/>
        </p:nvSpPr>
        <p:spPr bwMode="auto">
          <a:xfrm>
            <a:off x="5897928" y="2241922"/>
            <a:ext cx="818694" cy="1067631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t" anchorCtr="0"/>
          <a:lstStyle/>
          <a:p>
            <a:pPr algn="ctr"/>
            <a:r>
              <a:rPr lang="en-US" sz="1600" dirty="0"/>
              <a:t>SCEF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033409" y="2638331"/>
            <a:ext cx="2881902" cy="467535"/>
            <a:chOff x="1133790" y="1858898"/>
            <a:chExt cx="4827732" cy="207409"/>
          </a:xfrm>
        </p:grpSpPr>
        <p:sp>
          <p:nvSpPr>
            <p:cNvPr id="20" name="Rectangle 5"/>
            <p:cNvSpPr>
              <a:spLocks noChangeArrowheads="1"/>
            </p:cNvSpPr>
            <p:nvPr/>
          </p:nvSpPr>
          <p:spPr bwMode="auto">
            <a:xfrm>
              <a:off x="1204219" y="1858899"/>
              <a:ext cx="4687978" cy="2074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 algn="ctr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t" anchorCtr="0"/>
            <a:lstStyle/>
            <a:p>
              <a:pPr algn="ctr"/>
              <a:endParaRPr lang="en-US" sz="1600" dirty="0"/>
            </a:p>
          </p:txBody>
        </p:sp>
        <p:sp>
          <p:nvSpPr>
            <p:cNvPr id="7" name="Oval 6"/>
            <p:cNvSpPr/>
            <p:nvPr/>
          </p:nvSpPr>
          <p:spPr bwMode="auto">
            <a:xfrm>
              <a:off x="1133790" y="1858899"/>
              <a:ext cx="138651" cy="20740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Oval 22"/>
            <p:cNvSpPr/>
            <p:nvPr/>
          </p:nvSpPr>
          <p:spPr bwMode="auto">
            <a:xfrm>
              <a:off x="5822871" y="1858898"/>
              <a:ext cx="138651" cy="20740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1008324" y="3910837"/>
            <a:ext cx="1334135" cy="661610"/>
            <a:chOff x="1133790" y="2605464"/>
            <a:chExt cx="2100375" cy="207408"/>
          </a:xfrm>
        </p:grpSpPr>
        <p:sp>
          <p:nvSpPr>
            <p:cNvPr id="21" name="Rectangle 5"/>
            <p:cNvSpPr>
              <a:spLocks noChangeArrowheads="1"/>
            </p:cNvSpPr>
            <p:nvPr/>
          </p:nvSpPr>
          <p:spPr bwMode="auto">
            <a:xfrm>
              <a:off x="1204219" y="2605464"/>
              <a:ext cx="1960621" cy="2074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 algn="ctr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t" anchorCtr="0"/>
            <a:lstStyle/>
            <a:p>
              <a:pPr algn="ctr"/>
              <a:endParaRPr lang="en-US" sz="1600" dirty="0"/>
            </a:p>
          </p:txBody>
        </p:sp>
        <p:sp>
          <p:nvSpPr>
            <p:cNvPr id="22" name="Oval 21"/>
            <p:cNvSpPr/>
            <p:nvPr/>
          </p:nvSpPr>
          <p:spPr bwMode="auto">
            <a:xfrm>
              <a:off x="1133790" y="2605464"/>
              <a:ext cx="138651" cy="20740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Oval 23"/>
            <p:cNvSpPr/>
            <p:nvPr/>
          </p:nvSpPr>
          <p:spPr bwMode="auto">
            <a:xfrm>
              <a:off x="3095514" y="2605464"/>
              <a:ext cx="138651" cy="20740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2713861" y="3910837"/>
            <a:ext cx="1201451" cy="661610"/>
            <a:chOff x="1133790" y="2605464"/>
            <a:chExt cx="2100375" cy="207408"/>
          </a:xfrm>
        </p:grpSpPr>
        <p:sp>
          <p:nvSpPr>
            <p:cNvPr id="28" name="Rectangle 5"/>
            <p:cNvSpPr>
              <a:spLocks noChangeArrowheads="1"/>
            </p:cNvSpPr>
            <p:nvPr/>
          </p:nvSpPr>
          <p:spPr bwMode="auto">
            <a:xfrm>
              <a:off x="1204219" y="2605464"/>
              <a:ext cx="1960621" cy="20740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 algn="ctr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t" anchorCtr="0"/>
            <a:lstStyle/>
            <a:p>
              <a:pPr algn="ctr"/>
              <a:endParaRPr lang="en-US" sz="1600" dirty="0"/>
            </a:p>
          </p:txBody>
        </p:sp>
        <p:sp>
          <p:nvSpPr>
            <p:cNvPr id="29" name="Oval 28"/>
            <p:cNvSpPr/>
            <p:nvPr/>
          </p:nvSpPr>
          <p:spPr bwMode="auto">
            <a:xfrm>
              <a:off x="1133790" y="2605464"/>
              <a:ext cx="138651" cy="20740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Oval 29"/>
            <p:cNvSpPr/>
            <p:nvPr/>
          </p:nvSpPr>
          <p:spPr bwMode="auto">
            <a:xfrm>
              <a:off x="3095514" y="2605464"/>
              <a:ext cx="138651" cy="20740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678931" y="2661223"/>
            <a:ext cx="1344475" cy="467535"/>
            <a:chOff x="6271298" y="1746930"/>
            <a:chExt cx="2131668" cy="467535"/>
          </a:xfrm>
        </p:grpSpPr>
        <p:sp>
          <p:nvSpPr>
            <p:cNvPr id="32" name="Rectangle 5"/>
            <p:cNvSpPr>
              <a:spLocks noChangeArrowheads="1"/>
            </p:cNvSpPr>
            <p:nvPr/>
          </p:nvSpPr>
          <p:spPr bwMode="auto">
            <a:xfrm>
              <a:off x="6327355" y="1746932"/>
              <a:ext cx="2020433" cy="4675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 algn="ctr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t" anchorCtr="0"/>
            <a:lstStyle/>
            <a:p>
              <a:pPr algn="ctr"/>
              <a:endParaRPr lang="en-US" sz="1600" dirty="0"/>
            </a:p>
          </p:txBody>
        </p:sp>
        <p:sp>
          <p:nvSpPr>
            <p:cNvPr id="33" name="Oval 32"/>
            <p:cNvSpPr/>
            <p:nvPr/>
          </p:nvSpPr>
          <p:spPr bwMode="auto">
            <a:xfrm>
              <a:off x="6271298" y="1746932"/>
              <a:ext cx="110356" cy="46753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Oval 33"/>
            <p:cNvSpPr/>
            <p:nvPr/>
          </p:nvSpPr>
          <p:spPr bwMode="auto">
            <a:xfrm>
              <a:off x="8292610" y="1746930"/>
              <a:ext cx="110356" cy="46753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4013580" y="3209266"/>
            <a:ext cx="578865" cy="586444"/>
            <a:chOff x="5524117" y="2307318"/>
            <a:chExt cx="771819" cy="505686"/>
          </a:xfrm>
        </p:grpSpPr>
        <p:sp>
          <p:nvSpPr>
            <p:cNvPr id="37" name="Rectangle 5"/>
            <p:cNvSpPr>
              <a:spLocks noChangeArrowheads="1"/>
            </p:cNvSpPr>
            <p:nvPr/>
          </p:nvSpPr>
          <p:spPr bwMode="auto">
            <a:xfrm rot="5400000">
              <a:off x="5702823" y="2174971"/>
              <a:ext cx="414405" cy="77181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 algn="ctr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t" anchorCtr="0"/>
            <a:lstStyle/>
            <a:p>
              <a:pPr algn="ctr"/>
              <a:endParaRPr lang="en-US" sz="1600" dirty="0"/>
            </a:p>
          </p:txBody>
        </p:sp>
        <p:sp>
          <p:nvSpPr>
            <p:cNvPr id="38" name="Oval 37"/>
            <p:cNvSpPr/>
            <p:nvPr/>
          </p:nvSpPr>
          <p:spPr bwMode="auto">
            <a:xfrm rot="5400000">
              <a:off x="5864569" y="1966867"/>
              <a:ext cx="90915" cy="77181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Oval 38"/>
            <p:cNvSpPr/>
            <p:nvPr/>
          </p:nvSpPr>
          <p:spPr bwMode="auto">
            <a:xfrm rot="5400000">
              <a:off x="5862801" y="2379870"/>
              <a:ext cx="94450" cy="77181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" name="Straight Arrow Connector 5"/>
          <p:cNvCxnSpPr>
            <a:cxnSpLocks/>
          </p:cNvCxnSpPr>
          <p:nvPr/>
        </p:nvCxnSpPr>
        <p:spPr bwMode="auto">
          <a:xfrm>
            <a:off x="4214080" y="2748969"/>
            <a:ext cx="2075196" cy="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solid"/>
            <a:round/>
            <a:headEnd type="none" w="lg" len="lg"/>
            <a:tailEnd type="oval" w="lg" len="lg"/>
          </a:ln>
          <a:effectLst/>
        </p:spPr>
      </p:cxnSp>
      <p:sp>
        <p:nvSpPr>
          <p:cNvPr id="59" name="TextBox 58"/>
          <p:cNvSpPr txBox="1"/>
          <p:nvPr/>
        </p:nvSpPr>
        <p:spPr>
          <a:xfrm>
            <a:off x="1180160" y="2394000"/>
            <a:ext cx="9861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CP (DoNAS)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875123" y="2394000"/>
            <a:ext cx="98616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CP (</a:t>
            </a:r>
            <a:r>
              <a:rPr lang="en-US" sz="1100" dirty="0" err="1"/>
              <a:t>DoNAS</a:t>
            </a:r>
            <a:r>
              <a:rPr lang="en-US" sz="1100" dirty="0"/>
              <a:t>)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5116838" y="2402390"/>
            <a:ext cx="42832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T6a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1171304" y="3662390"/>
            <a:ext cx="16738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P (Suspend/Resume)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103290" y="3662390"/>
            <a:ext cx="506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1-U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554265" y="3361568"/>
            <a:ext cx="58541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11-U</a:t>
            </a:r>
          </a:p>
        </p:txBody>
      </p:sp>
      <p:cxnSp>
        <p:nvCxnSpPr>
          <p:cNvPr id="66" name="Straight Arrow Connector 65"/>
          <p:cNvCxnSpPr>
            <a:cxnSpLocks/>
          </p:cNvCxnSpPr>
          <p:nvPr/>
        </p:nvCxnSpPr>
        <p:spPr bwMode="auto">
          <a:xfrm>
            <a:off x="6715330" y="2856464"/>
            <a:ext cx="1073657" cy="15632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chemeClr val="tx1"/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sp>
        <p:nvSpPr>
          <p:cNvPr id="69" name="TextBox 68"/>
          <p:cNvSpPr txBox="1"/>
          <p:nvPr/>
        </p:nvSpPr>
        <p:spPr>
          <a:xfrm>
            <a:off x="6896682" y="2243836"/>
            <a:ext cx="726481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OMA/</a:t>
            </a:r>
            <a:br>
              <a:rPr lang="en-US" sz="1100" dirty="0"/>
            </a:br>
            <a:r>
              <a:rPr lang="en-US" sz="1100" dirty="0"/>
              <a:t>3GPP/</a:t>
            </a:r>
            <a:br>
              <a:rPr lang="en-US" sz="1100" dirty="0"/>
            </a:br>
            <a:r>
              <a:rPr lang="en-US" sz="1100" dirty="0"/>
              <a:t>Ericsson</a:t>
            </a:r>
          </a:p>
        </p:txBody>
      </p:sp>
      <p:cxnSp>
        <p:nvCxnSpPr>
          <p:cNvPr id="73" name="Straight Arrow Connector 72"/>
          <p:cNvCxnSpPr/>
          <p:nvPr/>
        </p:nvCxnSpPr>
        <p:spPr bwMode="auto">
          <a:xfrm>
            <a:off x="620814" y="5005537"/>
            <a:ext cx="253200" cy="153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FF0000"/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992796" y="4859465"/>
            <a:ext cx="140775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PDN Type “Non-IP”</a:t>
            </a:r>
          </a:p>
        </p:txBody>
      </p:sp>
      <p:cxnSp>
        <p:nvCxnSpPr>
          <p:cNvPr id="75" name="Straight Arrow Connector 74"/>
          <p:cNvCxnSpPr/>
          <p:nvPr/>
        </p:nvCxnSpPr>
        <p:spPr bwMode="auto">
          <a:xfrm>
            <a:off x="620814" y="5254717"/>
            <a:ext cx="253200" cy="1532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76" name="TextBox 75"/>
          <p:cNvSpPr txBox="1"/>
          <p:nvPr/>
        </p:nvSpPr>
        <p:spPr>
          <a:xfrm>
            <a:off x="992796" y="5108646"/>
            <a:ext cx="157126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PDN Type “IPv4/IPv6”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197358" y="5630071"/>
            <a:ext cx="345799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ser data over NAS (i.e. Control plane Optimization)</a:t>
            </a:r>
          </a:p>
        </p:txBody>
      </p:sp>
      <p:sp>
        <p:nvSpPr>
          <p:cNvPr id="77" name="Rectangle 5"/>
          <p:cNvSpPr>
            <a:spLocks noChangeArrowheads="1"/>
          </p:cNvSpPr>
          <p:nvPr/>
        </p:nvSpPr>
        <p:spPr bwMode="auto">
          <a:xfrm>
            <a:off x="5901494" y="3718703"/>
            <a:ext cx="818694" cy="1067631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b" anchorCtr="0"/>
          <a:lstStyle/>
          <a:p>
            <a:pPr algn="ctr"/>
            <a:r>
              <a:rPr lang="en-US" sz="1600" dirty="0"/>
              <a:t>PGW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4678930" y="3871691"/>
            <a:ext cx="1344475" cy="664155"/>
            <a:chOff x="6271298" y="1746930"/>
            <a:chExt cx="2131668" cy="467535"/>
          </a:xfrm>
        </p:grpSpPr>
        <p:sp>
          <p:nvSpPr>
            <p:cNvPr id="79" name="Rectangle 5"/>
            <p:cNvSpPr>
              <a:spLocks noChangeArrowheads="1"/>
            </p:cNvSpPr>
            <p:nvPr/>
          </p:nvSpPr>
          <p:spPr bwMode="auto">
            <a:xfrm>
              <a:off x="6327355" y="1746932"/>
              <a:ext cx="2020433" cy="4675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 algn="ctr">
              <a:solidFill>
                <a:schemeClr val="tx1"/>
              </a:solidFill>
              <a:prstDash val="solid"/>
              <a:round/>
              <a:headEnd/>
              <a:tailEnd/>
            </a:ln>
            <a:extLst/>
          </p:spPr>
          <p:txBody>
            <a:bodyPr wrap="none" anchor="t" anchorCtr="0"/>
            <a:lstStyle/>
            <a:p>
              <a:pPr algn="ctr"/>
              <a:endParaRPr lang="en-US" sz="1600" dirty="0"/>
            </a:p>
          </p:txBody>
        </p:sp>
        <p:sp>
          <p:nvSpPr>
            <p:cNvPr id="80" name="Oval 79"/>
            <p:cNvSpPr/>
            <p:nvPr/>
          </p:nvSpPr>
          <p:spPr bwMode="auto">
            <a:xfrm>
              <a:off x="6271298" y="1746932"/>
              <a:ext cx="110356" cy="46753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Oval 80"/>
            <p:cNvSpPr/>
            <p:nvPr/>
          </p:nvSpPr>
          <p:spPr bwMode="auto">
            <a:xfrm>
              <a:off x="8292610" y="1746930"/>
              <a:ext cx="110356" cy="46753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45720" rIns="7200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50" name="Straight Arrow Connector 49"/>
          <p:cNvCxnSpPr>
            <a:cxnSpLocks/>
          </p:cNvCxnSpPr>
          <p:nvPr/>
        </p:nvCxnSpPr>
        <p:spPr bwMode="auto">
          <a:xfrm>
            <a:off x="877405" y="4101136"/>
            <a:ext cx="5416632" cy="15371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solid"/>
            <a:round/>
            <a:headEnd type="oval" w="lg" len="lg"/>
            <a:tailEnd type="oval" w="lg" len="lg"/>
          </a:ln>
          <a:effectLst/>
        </p:spPr>
      </p:cxnSp>
      <p:cxnSp>
        <p:nvCxnSpPr>
          <p:cNvPr id="52" name="Straight Arrow Connector 51"/>
          <p:cNvCxnSpPr>
            <a:cxnSpLocks/>
          </p:cNvCxnSpPr>
          <p:nvPr/>
        </p:nvCxnSpPr>
        <p:spPr bwMode="auto">
          <a:xfrm>
            <a:off x="877405" y="4442541"/>
            <a:ext cx="5416634" cy="1529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oval" w="lg" len="lg"/>
            <a:tailEnd type="oval" w="lg" len="lg"/>
          </a:ln>
          <a:effectLst/>
        </p:spPr>
      </p:cxnSp>
      <p:sp>
        <p:nvSpPr>
          <p:cNvPr id="84" name="TextBox 83"/>
          <p:cNvSpPr txBox="1"/>
          <p:nvPr/>
        </p:nvSpPr>
        <p:spPr>
          <a:xfrm>
            <a:off x="5142370" y="3610080"/>
            <a:ext cx="3577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5</a:t>
            </a:r>
          </a:p>
        </p:txBody>
      </p:sp>
      <p:sp>
        <p:nvSpPr>
          <p:cNvPr id="49" name="Freeform 48"/>
          <p:cNvSpPr/>
          <p:nvPr/>
        </p:nvSpPr>
        <p:spPr bwMode="auto">
          <a:xfrm>
            <a:off x="4169841" y="2894061"/>
            <a:ext cx="2124196" cy="1087899"/>
          </a:xfrm>
          <a:custGeom>
            <a:avLst/>
            <a:gdLst>
              <a:gd name="connsiteX0" fmla="*/ 0 w 5157216"/>
              <a:gd name="connsiteY0" fmla="*/ 0 h 1043910"/>
              <a:gd name="connsiteX1" fmla="*/ 373075 w 5157216"/>
              <a:gd name="connsiteY1" fmla="*/ 109728 h 1043910"/>
              <a:gd name="connsiteX2" fmla="*/ 409651 w 5157216"/>
              <a:gd name="connsiteY2" fmla="*/ 636422 h 1043910"/>
              <a:gd name="connsiteX3" fmla="*/ 416966 w 5157216"/>
              <a:gd name="connsiteY3" fmla="*/ 987552 h 1043910"/>
              <a:gd name="connsiteX4" fmla="*/ 5157216 w 5157216"/>
              <a:gd name="connsiteY4" fmla="*/ 1038758 h 1043910"/>
              <a:gd name="connsiteX0" fmla="*/ 0 w 5157216"/>
              <a:gd name="connsiteY0" fmla="*/ 0 h 1124298"/>
              <a:gd name="connsiteX1" fmla="*/ 373075 w 5157216"/>
              <a:gd name="connsiteY1" fmla="*/ 109728 h 1124298"/>
              <a:gd name="connsiteX2" fmla="*/ 409651 w 5157216"/>
              <a:gd name="connsiteY2" fmla="*/ 636422 h 1124298"/>
              <a:gd name="connsiteX3" fmla="*/ 965606 w 5157216"/>
              <a:gd name="connsiteY3" fmla="*/ 1104596 h 1124298"/>
              <a:gd name="connsiteX4" fmla="*/ 5157216 w 5157216"/>
              <a:gd name="connsiteY4" fmla="*/ 1038758 h 1124298"/>
              <a:gd name="connsiteX0" fmla="*/ 0 w 5157216"/>
              <a:gd name="connsiteY0" fmla="*/ 0 h 1106820"/>
              <a:gd name="connsiteX1" fmla="*/ 373075 w 5157216"/>
              <a:gd name="connsiteY1" fmla="*/ 109728 h 1106820"/>
              <a:gd name="connsiteX2" fmla="*/ 409651 w 5157216"/>
              <a:gd name="connsiteY2" fmla="*/ 636422 h 1106820"/>
              <a:gd name="connsiteX3" fmla="*/ 965606 w 5157216"/>
              <a:gd name="connsiteY3" fmla="*/ 1104596 h 1106820"/>
              <a:gd name="connsiteX4" fmla="*/ 5157216 w 5157216"/>
              <a:gd name="connsiteY4" fmla="*/ 1038758 h 1106820"/>
              <a:gd name="connsiteX0" fmla="*/ 0 w 5157216"/>
              <a:gd name="connsiteY0" fmla="*/ 0 h 1058903"/>
              <a:gd name="connsiteX1" fmla="*/ 373075 w 5157216"/>
              <a:gd name="connsiteY1" fmla="*/ 109728 h 1058903"/>
              <a:gd name="connsiteX2" fmla="*/ 409651 w 5157216"/>
              <a:gd name="connsiteY2" fmla="*/ 636422 h 1058903"/>
              <a:gd name="connsiteX3" fmla="*/ 994867 w 5157216"/>
              <a:gd name="connsiteY3" fmla="*/ 1053389 h 1058903"/>
              <a:gd name="connsiteX4" fmla="*/ 5157216 w 5157216"/>
              <a:gd name="connsiteY4" fmla="*/ 1038758 h 1058903"/>
              <a:gd name="connsiteX0" fmla="*/ 0 w 5157216"/>
              <a:gd name="connsiteY0" fmla="*/ 11325 h 1070228"/>
              <a:gd name="connsiteX1" fmla="*/ 373075 w 5157216"/>
              <a:gd name="connsiteY1" fmla="*/ 121053 h 1070228"/>
              <a:gd name="connsiteX2" fmla="*/ 994867 w 5157216"/>
              <a:gd name="connsiteY2" fmla="*/ 1064714 h 1070228"/>
              <a:gd name="connsiteX3" fmla="*/ 5157216 w 5157216"/>
              <a:gd name="connsiteY3" fmla="*/ 1050083 h 1070228"/>
              <a:gd name="connsiteX0" fmla="*/ 0 w 5157216"/>
              <a:gd name="connsiteY0" fmla="*/ 12104 h 1084013"/>
              <a:gd name="connsiteX1" fmla="*/ 373075 w 5157216"/>
              <a:gd name="connsiteY1" fmla="*/ 121832 h 1084013"/>
              <a:gd name="connsiteX2" fmla="*/ 855878 w 5157216"/>
              <a:gd name="connsiteY2" fmla="*/ 1080124 h 1084013"/>
              <a:gd name="connsiteX3" fmla="*/ 5157216 w 5157216"/>
              <a:gd name="connsiteY3" fmla="*/ 1050862 h 1084013"/>
              <a:gd name="connsiteX0" fmla="*/ 0 w 5157216"/>
              <a:gd name="connsiteY0" fmla="*/ 12104 h 1192171"/>
              <a:gd name="connsiteX1" fmla="*/ 373075 w 5157216"/>
              <a:gd name="connsiteY1" fmla="*/ 121832 h 1192171"/>
              <a:gd name="connsiteX2" fmla="*/ 855878 w 5157216"/>
              <a:gd name="connsiteY2" fmla="*/ 1080124 h 1192171"/>
              <a:gd name="connsiteX3" fmla="*/ 5157216 w 5157216"/>
              <a:gd name="connsiteY3" fmla="*/ 1050862 h 1192171"/>
              <a:gd name="connsiteX0" fmla="*/ 0 w 5157216"/>
              <a:gd name="connsiteY0" fmla="*/ 4618 h 1134489"/>
              <a:gd name="connsiteX1" fmla="*/ 395020 w 5157216"/>
              <a:gd name="connsiteY1" fmla="*/ 136291 h 1134489"/>
              <a:gd name="connsiteX2" fmla="*/ 855878 w 5157216"/>
              <a:gd name="connsiteY2" fmla="*/ 1072638 h 1134489"/>
              <a:gd name="connsiteX3" fmla="*/ 5157216 w 5157216"/>
              <a:gd name="connsiteY3" fmla="*/ 1043376 h 1134489"/>
              <a:gd name="connsiteX0" fmla="*/ 0 w 5157216"/>
              <a:gd name="connsiteY0" fmla="*/ 4618 h 1134489"/>
              <a:gd name="connsiteX1" fmla="*/ 395020 w 5157216"/>
              <a:gd name="connsiteY1" fmla="*/ 136291 h 1134489"/>
              <a:gd name="connsiteX2" fmla="*/ 855878 w 5157216"/>
              <a:gd name="connsiteY2" fmla="*/ 1072638 h 1134489"/>
              <a:gd name="connsiteX3" fmla="*/ 5157216 w 5157216"/>
              <a:gd name="connsiteY3" fmla="*/ 1043376 h 1134489"/>
              <a:gd name="connsiteX0" fmla="*/ 0 w 5157216"/>
              <a:gd name="connsiteY0" fmla="*/ 6405 h 1136276"/>
              <a:gd name="connsiteX1" fmla="*/ 395020 w 5157216"/>
              <a:gd name="connsiteY1" fmla="*/ 138078 h 1136276"/>
              <a:gd name="connsiteX2" fmla="*/ 855878 w 5157216"/>
              <a:gd name="connsiteY2" fmla="*/ 1074425 h 1136276"/>
              <a:gd name="connsiteX3" fmla="*/ 5157216 w 5157216"/>
              <a:gd name="connsiteY3" fmla="*/ 1045163 h 1136276"/>
              <a:gd name="connsiteX0" fmla="*/ 0 w 5171847"/>
              <a:gd name="connsiteY0" fmla="*/ 1781 h 1146283"/>
              <a:gd name="connsiteX1" fmla="*/ 409651 w 5171847"/>
              <a:gd name="connsiteY1" fmla="*/ 148085 h 1146283"/>
              <a:gd name="connsiteX2" fmla="*/ 870509 w 5171847"/>
              <a:gd name="connsiteY2" fmla="*/ 1084432 h 1146283"/>
              <a:gd name="connsiteX3" fmla="*/ 5171847 w 5171847"/>
              <a:gd name="connsiteY3" fmla="*/ 1055170 h 1146283"/>
              <a:gd name="connsiteX0" fmla="*/ 0 w 5171847"/>
              <a:gd name="connsiteY0" fmla="*/ 43 h 1144545"/>
              <a:gd name="connsiteX1" fmla="*/ 409651 w 5171847"/>
              <a:gd name="connsiteY1" fmla="*/ 146347 h 1144545"/>
              <a:gd name="connsiteX2" fmla="*/ 870509 w 5171847"/>
              <a:gd name="connsiteY2" fmla="*/ 1082694 h 1144545"/>
              <a:gd name="connsiteX3" fmla="*/ 5171847 w 5171847"/>
              <a:gd name="connsiteY3" fmla="*/ 1053432 h 1144545"/>
              <a:gd name="connsiteX0" fmla="*/ 0 w 5171847"/>
              <a:gd name="connsiteY0" fmla="*/ 1781 h 1146283"/>
              <a:gd name="connsiteX1" fmla="*/ 409651 w 5171847"/>
              <a:gd name="connsiteY1" fmla="*/ 148085 h 1146283"/>
              <a:gd name="connsiteX2" fmla="*/ 958291 w 5171847"/>
              <a:gd name="connsiteY2" fmla="*/ 1084432 h 1146283"/>
              <a:gd name="connsiteX3" fmla="*/ 5171847 w 5171847"/>
              <a:gd name="connsiteY3" fmla="*/ 1055170 h 1146283"/>
              <a:gd name="connsiteX0" fmla="*/ 0 w 5171847"/>
              <a:gd name="connsiteY0" fmla="*/ 1781 h 1084437"/>
              <a:gd name="connsiteX1" fmla="*/ 409651 w 5171847"/>
              <a:gd name="connsiteY1" fmla="*/ 148085 h 1084437"/>
              <a:gd name="connsiteX2" fmla="*/ 958291 w 5171847"/>
              <a:gd name="connsiteY2" fmla="*/ 1084432 h 1084437"/>
              <a:gd name="connsiteX3" fmla="*/ 5171847 w 5171847"/>
              <a:gd name="connsiteY3" fmla="*/ 1055170 h 1084437"/>
              <a:gd name="connsiteX0" fmla="*/ 0 w 5171847"/>
              <a:gd name="connsiteY0" fmla="*/ 901 h 1054290"/>
              <a:gd name="connsiteX1" fmla="*/ 409651 w 5171847"/>
              <a:gd name="connsiteY1" fmla="*/ 147205 h 1054290"/>
              <a:gd name="connsiteX2" fmla="*/ 965606 w 5171847"/>
              <a:gd name="connsiteY2" fmla="*/ 1046976 h 1054290"/>
              <a:gd name="connsiteX3" fmla="*/ 5171847 w 5171847"/>
              <a:gd name="connsiteY3" fmla="*/ 1054290 h 1054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1847" h="1054290">
                <a:moveTo>
                  <a:pt x="0" y="901"/>
                </a:moveTo>
                <a:cubicBezTo>
                  <a:pt x="152400" y="2730"/>
                  <a:pt x="248717" y="-27141"/>
                  <a:pt x="409651" y="147205"/>
                </a:cubicBezTo>
                <a:cubicBezTo>
                  <a:pt x="570585" y="321551"/>
                  <a:pt x="171907" y="1049414"/>
                  <a:pt x="965606" y="1046976"/>
                </a:cubicBezTo>
                <a:lnTo>
                  <a:pt x="5171847" y="1054290"/>
                </a:lnTo>
              </a:path>
            </a:pathLst>
          </a:custGeom>
          <a:noFill/>
          <a:ln w="34925" cap="flat" cmpd="sng" algn="ctr">
            <a:solidFill>
              <a:srgbClr val="FF0000"/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87" name="Straight Arrow Connector 86"/>
          <p:cNvCxnSpPr>
            <a:cxnSpLocks/>
            <a:endCxn id="49" idx="0"/>
          </p:cNvCxnSpPr>
          <p:nvPr/>
        </p:nvCxnSpPr>
        <p:spPr bwMode="auto">
          <a:xfrm>
            <a:off x="864167" y="2894801"/>
            <a:ext cx="3305674" cy="19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dash"/>
            <a:round/>
            <a:headEnd type="oval" w="lg" len="lg"/>
            <a:tailEnd type="none" w="med" len="med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6690708" y="3834000"/>
            <a:ext cx="117051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IP or </a:t>
            </a:r>
            <a:r>
              <a:rPr lang="en-US" sz="1100" dirty="0" err="1"/>
              <a:t>PtP</a:t>
            </a:r>
            <a:r>
              <a:rPr lang="en-US" sz="1100" dirty="0"/>
              <a:t> tunnel</a:t>
            </a:r>
            <a:br>
              <a:rPr lang="en-US" sz="1100" dirty="0"/>
            </a:br>
            <a:r>
              <a:rPr lang="en-US" sz="1100" dirty="0"/>
              <a:t>or other</a:t>
            </a:r>
          </a:p>
        </p:txBody>
      </p:sp>
      <p:cxnSp>
        <p:nvCxnSpPr>
          <p:cNvPr id="67" name="Straight Arrow Connector 66"/>
          <p:cNvCxnSpPr>
            <a:cxnSpLocks/>
          </p:cNvCxnSpPr>
          <p:nvPr/>
        </p:nvCxnSpPr>
        <p:spPr bwMode="auto">
          <a:xfrm>
            <a:off x="6720188" y="4278123"/>
            <a:ext cx="1080323" cy="0"/>
          </a:xfrm>
          <a:prstGeom prst="straightConnector1">
            <a:avLst/>
          </a:prstGeom>
          <a:solidFill>
            <a:schemeClr val="accent1"/>
          </a:solidFill>
          <a:ln w="47625" cap="flat" cmpd="sng" algn="ctr">
            <a:solidFill>
              <a:schemeClr val="tx1"/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cxnSp>
        <p:nvCxnSpPr>
          <p:cNvPr id="68" name="Straight Arrow Connector 67"/>
          <p:cNvCxnSpPr>
            <a:cxnSpLocks/>
          </p:cNvCxnSpPr>
          <p:nvPr/>
        </p:nvCxnSpPr>
        <p:spPr bwMode="auto">
          <a:xfrm flipH="1" flipV="1">
            <a:off x="864169" y="2727269"/>
            <a:ext cx="3354674" cy="22706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dash"/>
            <a:round/>
            <a:headEnd type="none" w="lg" len="lg"/>
            <a:tailEnd type="oval" w="lg" len="lg"/>
          </a:ln>
          <a:effectLst/>
        </p:spPr>
      </p:cxnSp>
      <p:sp>
        <p:nvSpPr>
          <p:cNvPr id="71" name="Freeform 48"/>
          <p:cNvSpPr/>
          <p:nvPr/>
        </p:nvSpPr>
        <p:spPr bwMode="auto">
          <a:xfrm>
            <a:off x="3939080" y="3036427"/>
            <a:ext cx="2354957" cy="1263146"/>
          </a:xfrm>
          <a:custGeom>
            <a:avLst/>
            <a:gdLst>
              <a:gd name="connsiteX0" fmla="*/ 0 w 5157216"/>
              <a:gd name="connsiteY0" fmla="*/ 0 h 1043910"/>
              <a:gd name="connsiteX1" fmla="*/ 373075 w 5157216"/>
              <a:gd name="connsiteY1" fmla="*/ 109728 h 1043910"/>
              <a:gd name="connsiteX2" fmla="*/ 409651 w 5157216"/>
              <a:gd name="connsiteY2" fmla="*/ 636422 h 1043910"/>
              <a:gd name="connsiteX3" fmla="*/ 416966 w 5157216"/>
              <a:gd name="connsiteY3" fmla="*/ 987552 h 1043910"/>
              <a:gd name="connsiteX4" fmla="*/ 5157216 w 5157216"/>
              <a:gd name="connsiteY4" fmla="*/ 1038758 h 1043910"/>
              <a:gd name="connsiteX0" fmla="*/ 0 w 5157216"/>
              <a:gd name="connsiteY0" fmla="*/ 0 h 1124298"/>
              <a:gd name="connsiteX1" fmla="*/ 373075 w 5157216"/>
              <a:gd name="connsiteY1" fmla="*/ 109728 h 1124298"/>
              <a:gd name="connsiteX2" fmla="*/ 409651 w 5157216"/>
              <a:gd name="connsiteY2" fmla="*/ 636422 h 1124298"/>
              <a:gd name="connsiteX3" fmla="*/ 965606 w 5157216"/>
              <a:gd name="connsiteY3" fmla="*/ 1104596 h 1124298"/>
              <a:gd name="connsiteX4" fmla="*/ 5157216 w 5157216"/>
              <a:gd name="connsiteY4" fmla="*/ 1038758 h 1124298"/>
              <a:gd name="connsiteX0" fmla="*/ 0 w 5157216"/>
              <a:gd name="connsiteY0" fmla="*/ 0 h 1106820"/>
              <a:gd name="connsiteX1" fmla="*/ 373075 w 5157216"/>
              <a:gd name="connsiteY1" fmla="*/ 109728 h 1106820"/>
              <a:gd name="connsiteX2" fmla="*/ 409651 w 5157216"/>
              <a:gd name="connsiteY2" fmla="*/ 636422 h 1106820"/>
              <a:gd name="connsiteX3" fmla="*/ 965606 w 5157216"/>
              <a:gd name="connsiteY3" fmla="*/ 1104596 h 1106820"/>
              <a:gd name="connsiteX4" fmla="*/ 5157216 w 5157216"/>
              <a:gd name="connsiteY4" fmla="*/ 1038758 h 1106820"/>
              <a:gd name="connsiteX0" fmla="*/ 0 w 5157216"/>
              <a:gd name="connsiteY0" fmla="*/ 0 h 1058903"/>
              <a:gd name="connsiteX1" fmla="*/ 373075 w 5157216"/>
              <a:gd name="connsiteY1" fmla="*/ 109728 h 1058903"/>
              <a:gd name="connsiteX2" fmla="*/ 409651 w 5157216"/>
              <a:gd name="connsiteY2" fmla="*/ 636422 h 1058903"/>
              <a:gd name="connsiteX3" fmla="*/ 994867 w 5157216"/>
              <a:gd name="connsiteY3" fmla="*/ 1053389 h 1058903"/>
              <a:gd name="connsiteX4" fmla="*/ 5157216 w 5157216"/>
              <a:gd name="connsiteY4" fmla="*/ 1038758 h 1058903"/>
              <a:gd name="connsiteX0" fmla="*/ 0 w 5157216"/>
              <a:gd name="connsiteY0" fmla="*/ 11325 h 1070228"/>
              <a:gd name="connsiteX1" fmla="*/ 373075 w 5157216"/>
              <a:gd name="connsiteY1" fmla="*/ 121053 h 1070228"/>
              <a:gd name="connsiteX2" fmla="*/ 994867 w 5157216"/>
              <a:gd name="connsiteY2" fmla="*/ 1064714 h 1070228"/>
              <a:gd name="connsiteX3" fmla="*/ 5157216 w 5157216"/>
              <a:gd name="connsiteY3" fmla="*/ 1050083 h 1070228"/>
              <a:gd name="connsiteX0" fmla="*/ 0 w 5157216"/>
              <a:gd name="connsiteY0" fmla="*/ 12104 h 1084013"/>
              <a:gd name="connsiteX1" fmla="*/ 373075 w 5157216"/>
              <a:gd name="connsiteY1" fmla="*/ 121832 h 1084013"/>
              <a:gd name="connsiteX2" fmla="*/ 855878 w 5157216"/>
              <a:gd name="connsiteY2" fmla="*/ 1080124 h 1084013"/>
              <a:gd name="connsiteX3" fmla="*/ 5157216 w 5157216"/>
              <a:gd name="connsiteY3" fmla="*/ 1050862 h 1084013"/>
              <a:gd name="connsiteX0" fmla="*/ 0 w 5157216"/>
              <a:gd name="connsiteY0" fmla="*/ 12104 h 1192171"/>
              <a:gd name="connsiteX1" fmla="*/ 373075 w 5157216"/>
              <a:gd name="connsiteY1" fmla="*/ 121832 h 1192171"/>
              <a:gd name="connsiteX2" fmla="*/ 855878 w 5157216"/>
              <a:gd name="connsiteY2" fmla="*/ 1080124 h 1192171"/>
              <a:gd name="connsiteX3" fmla="*/ 5157216 w 5157216"/>
              <a:gd name="connsiteY3" fmla="*/ 1050862 h 1192171"/>
              <a:gd name="connsiteX0" fmla="*/ 0 w 5157216"/>
              <a:gd name="connsiteY0" fmla="*/ 4618 h 1134489"/>
              <a:gd name="connsiteX1" fmla="*/ 395020 w 5157216"/>
              <a:gd name="connsiteY1" fmla="*/ 136291 h 1134489"/>
              <a:gd name="connsiteX2" fmla="*/ 855878 w 5157216"/>
              <a:gd name="connsiteY2" fmla="*/ 1072638 h 1134489"/>
              <a:gd name="connsiteX3" fmla="*/ 5157216 w 5157216"/>
              <a:gd name="connsiteY3" fmla="*/ 1043376 h 1134489"/>
              <a:gd name="connsiteX0" fmla="*/ 0 w 5157216"/>
              <a:gd name="connsiteY0" fmla="*/ 4618 h 1134489"/>
              <a:gd name="connsiteX1" fmla="*/ 395020 w 5157216"/>
              <a:gd name="connsiteY1" fmla="*/ 136291 h 1134489"/>
              <a:gd name="connsiteX2" fmla="*/ 855878 w 5157216"/>
              <a:gd name="connsiteY2" fmla="*/ 1072638 h 1134489"/>
              <a:gd name="connsiteX3" fmla="*/ 5157216 w 5157216"/>
              <a:gd name="connsiteY3" fmla="*/ 1043376 h 1134489"/>
              <a:gd name="connsiteX0" fmla="*/ 0 w 5157216"/>
              <a:gd name="connsiteY0" fmla="*/ 6405 h 1136276"/>
              <a:gd name="connsiteX1" fmla="*/ 395020 w 5157216"/>
              <a:gd name="connsiteY1" fmla="*/ 138078 h 1136276"/>
              <a:gd name="connsiteX2" fmla="*/ 855878 w 5157216"/>
              <a:gd name="connsiteY2" fmla="*/ 1074425 h 1136276"/>
              <a:gd name="connsiteX3" fmla="*/ 5157216 w 5157216"/>
              <a:gd name="connsiteY3" fmla="*/ 1045163 h 1136276"/>
              <a:gd name="connsiteX0" fmla="*/ 0 w 5171847"/>
              <a:gd name="connsiteY0" fmla="*/ 1781 h 1146283"/>
              <a:gd name="connsiteX1" fmla="*/ 409651 w 5171847"/>
              <a:gd name="connsiteY1" fmla="*/ 148085 h 1146283"/>
              <a:gd name="connsiteX2" fmla="*/ 870509 w 5171847"/>
              <a:gd name="connsiteY2" fmla="*/ 1084432 h 1146283"/>
              <a:gd name="connsiteX3" fmla="*/ 5171847 w 5171847"/>
              <a:gd name="connsiteY3" fmla="*/ 1055170 h 1146283"/>
              <a:gd name="connsiteX0" fmla="*/ 0 w 5171847"/>
              <a:gd name="connsiteY0" fmla="*/ 43 h 1144545"/>
              <a:gd name="connsiteX1" fmla="*/ 409651 w 5171847"/>
              <a:gd name="connsiteY1" fmla="*/ 146347 h 1144545"/>
              <a:gd name="connsiteX2" fmla="*/ 870509 w 5171847"/>
              <a:gd name="connsiteY2" fmla="*/ 1082694 h 1144545"/>
              <a:gd name="connsiteX3" fmla="*/ 5171847 w 5171847"/>
              <a:gd name="connsiteY3" fmla="*/ 1053432 h 1144545"/>
              <a:gd name="connsiteX0" fmla="*/ 0 w 5171847"/>
              <a:gd name="connsiteY0" fmla="*/ 1781 h 1146283"/>
              <a:gd name="connsiteX1" fmla="*/ 409651 w 5171847"/>
              <a:gd name="connsiteY1" fmla="*/ 148085 h 1146283"/>
              <a:gd name="connsiteX2" fmla="*/ 958291 w 5171847"/>
              <a:gd name="connsiteY2" fmla="*/ 1084432 h 1146283"/>
              <a:gd name="connsiteX3" fmla="*/ 5171847 w 5171847"/>
              <a:gd name="connsiteY3" fmla="*/ 1055170 h 1146283"/>
              <a:gd name="connsiteX0" fmla="*/ 0 w 5171847"/>
              <a:gd name="connsiteY0" fmla="*/ 1781 h 1084437"/>
              <a:gd name="connsiteX1" fmla="*/ 409651 w 5171847"/>
              <a:gd name="connsiteY1" fmla="*/ 148085 h 1084437"/>
              <a:gd name="connsiteX2" fmla="*/ 958291 w 5171847"/>
              <a:gd name="connsiteY2" fmla="*/ 1084432 h 1084437"/>
              <a:gd name="connsiteX3" fmla="*/ 5171847 w 5171847"/>
              <a:gd name="connsiteY3" fmla="*/ 1055170 h 1084437"/>
              <a:gd name="connsiteX0" fmla="*/ 0 w 5171847"/>
              <a:gd name="connsiteY0" fmla="*/ 901 h 1054290"/>
              <a:gd name="connsiteX1" fmla="*/ 409651 w 5171847"/>
              <a:gd name="connsiteY1" fmla="*/ 147205 h 1054290"/>
              <a:gd name="connsiteX2" fmla="*/ 965606 w 5171847"/>
              <a:gd name="connsiteY2" fmla="*/ 1046976 h 1054290"/>
              <a:gd name="connsiteX3" fmla="*/ 5171847 w 5171847"/>
              <a:gd name="connsiteY3" fmla="*/ 1054290 h 1054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1847" h="1054290">
                <a:moveTo>
                  <a:pt x="0" y="901"/>
                </a:moveTo>
                <a:cubicBezTo>
                  <a:pt x="152400" y="2730"/>
                  <a:pt x="248717" y="-27141"/>
                  <a:pt x="409651" y="147205"/>
                </a:cubicBezTo>
                <a:cubicBezTo>
                  <a:pt x="570585" y="321551"/>
                  <a:pt x="171907" y="1049414"/>
                  <a:pt x="965606" y="1046976"/>
                </a:cubicBezTo>
                <a:lnTo>
                  <a:pt x="5171847" y="1054290"/>
                </a:lnTo>
              </a:path>
            </a:pathLst>
          </a:custGeom>
          <a:noFill/>
          <a:ln w="349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none" w="lg" len="lg"/>
            <a:tailEnd type="oval" w="lg" len="lg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82" name="Straight Arrow Connector 81"/>
          <p:cNvCxnSpPr>
            <a:cxnSpLocks/>
            <a:stCxn id="23" idx="5"/>
          </p:cNvCxnSpPr>
          <p:nvPr/>
        </p:nvCxnSpPr>
        <p:spPr bwMode="auto">
          <a:xfrm flipH="1">
            <a:off x="869488" y="3037395"/>
            <a:ext cx="3033702" cy="5381"/>
          </a:xfrm>
          <a:prstGeom prst="straightConnector1">
            <a:avLst/>
          </a:prstGeom>
          <a:noFill/>
          <a:ln w="34925" cap="flat" cmpd="sng" algn="ctr">
            <a:solidFill>
              <a:schemeClr val="tx2">
                <a:lumMod val="50000"/>
                <a:lumOff val="50000"/>
              </a:schemeClr>
            </a:solidFill>
            <a:prstDash val="sysDash"/>
            <a:round/>
            <a:headEnd type="none" w="lg" len="lg"/>
            <a:tailEnd type="oval" w="lg" len="lg"/>
          </a:ln>
          <a:effectLst/>
        </p:spPr>
      </p:cxnSp>
      <p:cxnSp>
        <p:nvCxnSpPr>
          <p:cNvPr id="70" name="Straight Arrow Connector 69"/>
          <p:cNvCxnSpPr>
            <a:cxnSpLocks/>
          </p:cNvCxnSpPr>
          <p:nvPr/>
        </p:nvCxnSpPr>
        <p:spPr bwMode="auto">
          <a:xfrm flipH="1">
            <a:off x="567062" y="5692563"/>
            <a:ext cx="551705" cy="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cxnSp>
        <p:nvCxnSpPr>
          <p:cNvPr id="85" name="Straight Arrow Connector 84"/>
          <p:cNvCxnSpPr>
            <a:cxnSpLocks/>
          </p:cNvCxnSpPr>
          <p:nvPr/>
        </p:nvCxnSpPr>
        <p:spPr bwMode="auto">
          <a:xfrm flipH="1">
            <a:off x="567062" y="5802315"/>
            <a:ext cx="551705" cy="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2">
                <a:lumMod val="50000"/>
                <a:lumOff val="50000"/>
              </a:schemeClr>
            </a:solidFill>
            <a:prstDash val="dash"/>
            <a:round/>
            <a:headEnd type="none" w="lg" len="lg"/>
            <a:tailEnd type="none" w="lg" len="lg"/>
          </a:ln>
          <a:effectLst/>
        </p:spPr>
      </p:cxnSp>
      <p:sp>
        <p:nvSpPr>
          <p:cNvPr id="86" name="TextBox 85"/>
          <p:cNvSpPr txBox="1"/>
          <p:nvPr/>
        </p:nvSpPr>
        <p:spPr>
          <a:xfrm>
            <a:off x="1194116" y="6044081"/>
            <a:ext cx="50193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User data in User Plane  with RRC Suspend/Resume (i.e. UP Optimization)</a:t>
            </a:r>
          </a:p>
        </p:txBody>
      </p:sp>
      <p:cxnSp>
        <p:nvCxnSpPr>
          <p:cNvPr id="88" name="Straight Arrow Connector 87"/>
          <p:cNvCxnSpPr>
            <a:cxnSpLocks/>
          </p:cNvCxnSpPr>
          <p:nvPr/>
        </p:nvCxnSpPr>
        <p:spPr bwMode="auto">
          <a:xfrm flipH="1">
            <a:off x="733537" y="6106573"/>
            <a:ext cx="381989" cy="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89" name="Straight Arrow Connector 88"/>
          <p:cNvCxnSpPr>
            <a:cxnSpLocks/>
          </p:cNvCxnSpPr>
          <p:nvPr/>
        </p:nvCxnSpPr>
        <p:spPr bwMode="auto">
          <a:xfrm flipH="1">
            <a:off x="733537" y="6216325"/>
            <a:ext cx="381989" cy="0"/>
          </a:xfrm>
          <a:prstGeom prst="straightConnector1">
            <a:avLst/>
          </a:prstGeom>
          <a:solidFill>
            <a:schemeClr val="accent1"/>
          </a:solidFill>
          <a:ln w="34925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72" name="TextBox 71"/>
          <p:cNvSpPr txBox="1"/>
          <p:nvPr/>
        </p:nvSpPr>
        <p:spPr>
          <a:xfrm>
            <a:off x="7079672" y="4329000"/>
            <a:ext cx="4203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err="1"/>
              <a:t>SGi</a:t>
            </a:r>
            <a:endParaRPr lang="en-US" sz="1100" dirty="0"/>
          </a:p>
        </p:txBody>
      </p:sp>
      <p:sp>
        <p:nvSpPr>
          <p:cNvPr id="90" name="TextBox 89"/>
          <p:cNvSpPr txBox="1"/>
          <p:nvPr/>
        </p:nvSpPr>
        <p:spPr>
          <a:xfrm>
            <a:off x="3001759" y="3106958"/>
            <a:ext cx="73289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/>
              <a:t>S1-MME</a:t>
            </a:r>
          </a:p>
        </p:txBody>
      </p:sp>
      <p:sp>
        <p:nvSpPr>
          <p:cNvPr id="91" name="Rectangle 5">
            <a:extLst>
              <a:ext uri="{FF2B5EF4-FFF2-40B4-BE49-F238E27FC236}">
                <a16:creationId xmlns:a16="http://schemas.microsoft.com/office/drawing/2014/main" id="{5BA5FF75-1501-4782-83A2-7829FC3AD6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1500" y="3124984"/>
            <a:ext cx="818694" cy="67187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ctr" anchorCtr="0"/>
          <a:lstStyle/>
          <a:p>
            <a:pPr algn="ctr"/>
            <a:r>
              <a:rPr lang="en-US" sz="1600" dirty="0"/>
              <a:t>IoT</a:t>
            </a:r>
            <a:br>
              <a:rPr lang="en-US" sz="1600" dirty="0"/>
            </a:br>
            <a:r>
              <a:rPr lang="en-US" sz="1600" dirty="0"/>
              <a:t>Service</a:t>
            </a:r>
          </a:p>
        </p:txBody>
      </p:sp>
      <p:sp>
        <p:nvSpPr>
          <p:cNvPr id="92" name="Rectangle 5">
            <a:extLst>
              <a:ext uri="{FF2B5EF4-FFF2-40B4-BE49-F238E27FC236}">
                <a16:creationId xmlns:a16="http://schemas.microsoft.com/office/drawing/2014/main" id="{0EC2D782-0D23-430A-8F16-FBF0B45402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18479" y="2225249"/>
            <a:ext cx="1000699" cy="247501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ctr" anchorCtr="0"/>
          <a:lstStyle/>
          <a:p>
            <a:pPr algn="ctr"/>
            <a:r>
              <a:rPr lang="en-US" sz="1600" dirty="0"/>
              <a:t>IoT</a:t>
            </a:r>
            <a:br>
              <a:rPr lang="en-US" sz="1600" dirty="0"/>
            </a:br>
            <a:r>
              <a:rPr lang="en-US" sz="1600" dirty="0"/>
              <a:t>Platform</a:t>
            </a:r>
          </a:p>
        </p:txBody>
      </p:sp>
      <p:sp>
        <p:nvSpPr>
          <p:cNvPr id="93" name="Rectangle 5">
            <a:extLst>
              <a:ext uri="{FF2B5EF4-FFF2-40B4-BE49-F238E27FC236}">
                <a16:creationId xmlns:a16="http://schemas.microsoft.com/office/drawing/2014/main" id="{0FA502E8-17FA-481B-ACDF-17C6494958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98414" y="3482032"/>
            <a:ext cx="818694" cy="1203751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ctr" anchorCtr="0"/>
          <a:lstStyle/>
          <a:p>
            <a:pPr algn="ctr"/>
            <a:r>
              <a:rPr lang="en-US" sz="1600" dirty="0"/>
              <a:t>IoT</a:t>
            </a:r>
            <a:br>
              <a:rPr lang="en-US" sz="1600" dirty="0"/>
            </a:br>
            <a:r>
              <a:rPr lang="en-US" sz="1600" dirty="0"/>
              <a:t>GW</a:t>
            </a:r>
          </a:p>
        </p:txBody>
      </p: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A2DD6F10-7089-40B2-833F-3494835C8CBF}"/>
              </a:ext>
            </a:extLst>
          </p:cNvPr>
          <p:cNvCxnSpPr>
            <a:cxnSpLocks/>
            <a:stCxn id="17" idx="3"/>
          </p:cNvCxnSpPr>
          <p:nvPr/>
        </p:nvCxnSpPr>
        <p:spPr bwMode="auto">
          <a:xfrm flipV="1">
            <a:off x="8619205" y="2826268"/>
            <a:ext cx="599274" cy="857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244643A8-A139-417B-BABD-2CB4F12432A2}"/>
              </a:ext>
            </a:extLst>
          </p:cNvPr>
          <p:cNvSpPr txBox="1"/>
          <p:nvPr/>
        </p:nvSpPr>
        <p:spPr>
          <a:xfrm>
            <a:off x="8645194" y="2330360"/>
            <a:ext cx="56297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REST</a:t>
            </a:r>
            <a:br>
              <a:rPr lang="en-US" sz="1100" dirty="0"/>
            </a:br>
            <a:r>
              <a:rPr lang="en-US" sz="1100" dirty="0"/>
              <a:t>API</a:t>
            </a: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DF31257C-5A08-4F3D-847A-3AE8F7563417}"/>
              </a:ext>
            </a:extLst>
          </p:cNvPr>
          <p:cNvCxnSpPr>
            <a:cxnSpLocks/>
            <a:stCxn id="93" idx="3"/>
          </p:cNvCxnSpPr>
          <p:nvPr/>
        </p:nvCxnSpPr>
        <p:spPr bwMode="auto">
          <a:xfrm>
            <a:off x="8617108" y="4083908"/>
            <a:ext cx="591061" cy="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D56A1D56-702D-479E-98AD-C989F4F67644}"/>
              </a:ext>
            </a:extLst>
          </p:cNvPr>
          <p:cNvSpPr txBox="1"/>
          <p:nvPr/>
        </p:nvSpPr>
        <p:spPr>
          <a:xfrm>
            <a:off x="8645194" y="3580266"/>
            <a:ext cx="56297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REST</a:t>
            </a:r>
            <a:br>
              <a:rPr lang="en-US" sz="1100" dirty="0"/>
            </a:br>
            <a:r>
              <a:rPr lang="en-US" sz="1100" dirty="0"/>
              <a:t>API</a:t>
            </a:r>
          </a:p>
        </p:txBody>
      </p:sp>
      <p:cxnSp>
        <p:nvCxnSpPr>
          <p:cNvPr id="98" name="Straight Arrow Connector 97">
            <a:extLst>
              <a:ext uri="{FF2B5EF4-FFF2-40B4-BE49-F238E27FC236}">
                <a16:creationId xmlns:a16="http://schemas.microsoft.com/office/drawing/2014/main" id="{B4A3F92E-E80B-48F7-9767-8D4ED75D1798}"/>
              </a:ext>
            </a:extLst>
          </p:cNvPr>
          <p:cNvCxnSpPr>
            <a:cxnSpLocks/>
            <a:stCxn id="92" idx="3"/>
            <a:endCxn id="91" idx="1"/>
          </p:cNvCxnSpPr>
          <p:nvPr/>
        </p:nvCxnSpPr>
        <p:spPr bwMode="auto">
          <a:xfrm flipV="1">
            <a:off x="10219178" y="3460924"/>
            <a:ext cx="622322" cy="1835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2EC9CE35-79A7-4487-81C7-229B8091D481}"/>
              </a:ext>
            </a:extLst>
          </p:cNvPr>
          <p:cNvSpPr txBox="1"/>
          <p:nvPr/>
        </p:nvSpPr>
        <p:spPr>
          <a:xfrm>
            <a:off x="10253473" y="2968771"/>
            <a:ext cx="56297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REST</a:t>
            </a:r>
            <a:br>
              <a:rPr lang="en-US" sz="1100" dirty="0"/>
            </a:br>
            <a:r>
              <a:rPr lang="en-US" sz="1100" dirty="0"/>
              <a:t>API</a:t>
            </a:r>
          </a:p>
        </p:txBody>
      </p:sp>
      <p:sp>
        <p:nvSpPr>
          <p:cNvPr id="100" name="Rectangle 5">
            <a:extLst>
              <a:ext uri="{FF2B5EF4-FFF2-40B4-BE49-F238E27FC236}">
                <a16:creationId xmlns:a16="http://schemas.microsoft.com/office/drawing/2014/main" id="{ADE9EBAA-573F-4536-A53B-4D51EC786F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42191" y="2225248"/>
            <a:ext cx="818694" cy="67187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ctr" anchorCtr="0"/>
          <a:lstStyle/>
          <a:p>
            <a:pPr algn="ctr"/>
            <a:r>
              <a:rPr lang="en-US" sz="1600" dirty="0"/>
              <a:t>IoT</a:t>
            </a:r>
            <a:br>
              <a:rPr lang="en-US" sz="1600" dirty="0"/>
            </a:br>
            <a:r>
              <a:rPr lang="en-US" sz="1600" dirty="0"/>
              <a:t>Service</a:t>
            </a:r>
          </a:p>
        </p:txBody>
      </p:sp>
      <p:sp>
        <p:nvSpPr>
          <p:cNvPr id="101" name="Rectangle 5">
            <a:extLst>
              <a:ext uri="{FF2B5EF4-FFF2-40B4-BE49-F238E27FC236}">
                <a16:creationId xmlns:a16="http://schemas.microsoft.com/office/drawing/2014/main" id="{CA1DD76B-57BB-4B88-8EA5-D2643A5ABE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25530" y="4028389"/>
            <a:ext cx="818694" cy="67187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1"/>
            </a:solidFill>
            <a:prstDash val="solid"/>
            <a:round/>
            <a:headEnd/>
            <a:tailEnd/>
          </a:ln>
          <a:extLst/>
        </p:spPr>
        <p:txBody>
          <a:bodyPr wrap="none" anchor="ctr" anchorCtr="0"/>
          <a:lstStyle/>
          <a:p>
            <a:pPr algn="ctr"/>
            <a:r>
              <a:rPr lang="en-US" sz="1600" dirty="0"/>
              <a:t>IoT</a:t>
            </a:r>
            <a:br>
              <a:rPr lang="en-US" sz="1600" dirty="0"/>
            </a:br>
            <a:r>
              <a:rPr lang="en-US" sz="1600" dirty="0"/>
              <a:t>Service</a:t>
            </a:r>
          </a:p>
        </p:txBody>
      </p: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779A93D9-AD9D-4D72-ADE0-7C8E195F7B1F}"/>
              </a:ext>
            </a:extLst>
          </p:cNvPr>
          <p:cNvCxnSpPr>
            <a:cxnSpLocks/>
            <a:endCxn id="100" idx="1"/>
          </p:cNvCxnSpPr>
          <p:nvPr/>
        </p:nvCxnSpPr>
        <p:spPr bwMode="auto">
          <a:xfrm>
            <a:off x="10219178" y="2554983"/>
            <a:ext cx="623013" cy="6205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sp>
        <p:nvSpPr>
          <p:cNvPr id="103" name="TextBox 102">
            <a:extLst>
              <a:ext uri="{FF2B5EF4-FFF2-40B4-BE49-F238E27FC236}">
                <a16:creationId xmlns:a16="http://schemas.microsoft.com/office/drawing/2014/main" id="{C3D12A94-802B-49A5-8294-568FC0D5C8B8}"/>
              </a:ext>
            </a:extLst>
          </p:cNvPr>
          <p:cNvSpPr txBox="1"/>
          <p:nvPr/>
        </p:nvSpPr>
        <p:spPr>
          <a:xfrm>
            <a:off x="10253473" y="2060994"/>
            <a:ext cx="56297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REST</a:t>
            </a:r>
            <a:br>
              <a:rPr lang="en-US" sz="1100" dirty="0"/>
            </a:br>
            <a:r>
              <a:rPr lang="en-US" sz="1100" dirty="0"/>
              <a:t>API</a:t>
            </a:r>
          </a:p>
        </p:txBody>
      </p: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29B43E47-D5BA-42CD-8C15-730C861A4A82}"/>
              </a:ext>
            </a:extLst>
          </p:cNvPr>
          <p:cNvCxnSpPr>
            <a:cxnSpLocks/>
            <a:endCxn id="101" idx="1"/>
          </p:cNvCxnSpPr>
          <p:nvPr/>
        </p:nvCxnSpPr>
        <p:spPr bwMode="auto">
          <a:xfrm flipV="1">
            <a:off x="10211193" y="4364329"/>
            <a:ext cx="614337" cy="1354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2">
                <a:lumMod val="50000"/>
                <a:lumOff val="50000"/>
              </a:schemeClr>
            </a:solidFill>
            <a:prstDash val="solid"/>
            <a:round/>
            <a:headEnd type="stealth" w="lg" len="lg"/>
            <a:tailEnd type="stealth" w="lg" len="lg"/>
          </a:ln>
          <a:effectLst/>
        </p:spPr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F6693737-D463-4166-B44D-21BB3A556807}"/>
              </a:ext>
            </a:extLst>
          </p:cNvPr>
          <p:cNvSpPr txBox="1"/>
          <p:nvPr/>
        </p:nvSpPr>
        <p:spPr>
          <a:xfrm>
            <a:off x="10245488" y="3871694"/>
            <a:ext cx="56297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100" dirty="0"/>
              <a:t>REST</a:t>
            </a:r>
            <a:br>
              <a:rPr lang="en-US" sz="1100" dirty="0"/>
            </a:br>
            <a:r>
              <a:rPr lang="en-US" sz="1100" dirty="0"/>
              <a:t>API</a:t>
            </a:r>
          </a:p>
        </p:txBody>
      </p:sp>
    </p:spTree>
    <p:extLst>
      <p:ext uri="{BB962C8B-B14F-4D97-AF65-F5344CB8AC3E}">
        <p14:creationId xmlns:p14="http://schemas.microsoft.com/office/powerpoint/2010/main" val="1024672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6111" y="239714"/>
            <a:ext cx="4833644" cy="268046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hu-HU" sz="4000" dirty="0"/>
              <a:t>rádiós és IoT alkalmazás szintű protokollok</a:t>
            </a:r>
            <a:endParaRPr lang="en-US" sz="40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FE688E0-5272-4C0B-B04B-90694017AD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24284" y="343534"/>
            <a:ext cx="5944689" cy="2888523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:a16="http://schemas.microsoft.com/office/drawing/2014/main" id="{8DCC7B6C-EABB-4CB4-B3A6-8A987126E3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3494" y="3232058"/>
            <a:ext cx="8021880" cy="3040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930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Rectangle 84">
            <a:extLst>
              <a:ext uri="{FF2B5EF4-FFF2-40B4-BE49-F238E27FC236}">
                <a16:creationId xmlns:a16="http://schemas.microsoft.com/office/drawing/2014/main" id="{B70F3264-D6AE-4308-B66C-A91B42D2E905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00285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9458" name="Picture 2"/>
          <p:cNvPicPr preferRelativeResize="0"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038" y="127000"/>
            <a:ext cx="2886075" cy="288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15363" name="Rounded Rectangle 4"/>
          <p:cNvSpPr>
            <a:spLocks noChangeArrowheads="1"/>
          </p:cNvSpPr>
          <p:nvPr/>
        </p:nvSpPr>
        <p:spPr bwMode="auto">
          <a:xfrm>
            <a:off x="2508250" y="2413000"/>
            <a:ext cx="7440613" cy="1317625"/>
          </a:xfrm>
          <a:prstGeom prst="roundRect">
            <a:avLst>
              <a:gd name="adj" fmla="val 1491"/>
            </a:avLst>
          </a:prstGeom>
          <a:solidFill>
            <a:srgbClr val="00285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rIns="7200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sv-SE" sz="2000" b="0" i="0" u="none" strike="noStrike" kern="0" cap="none" spc="0" normalizeH="0" baseline="0" noProof="0">
              <a:ln>
                <a:noFill/>
              </a:ln>
              <a:solidFill>
                <a:srgbClr val="58585A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pSp>
        <p:nvGrpSpPr>
          <p:cNvPr id="7" name="Group 7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642950" y="4413051"/>
            <a:ext cx="785359" cy="548096"/>
            <a:chOff x="1554162" y="4567970"/>
            <a:chExt cx="760413" cy="549275"/>
          </a:xfrm>
          <a:solidFill>
            <a:srgbClr val="FFFFFF"/>
          </a:solidFill>
        </p:grpSpPr>
        <p:sp>
          <p:nvSpPr>
            <p:cNvPr id="8" name="Freeform 3"/>
            <p:cNvSpPr>
              <a:spLocks noChangeAspect="1" noEditPoints="1"/>
            </p:cNvSpPr>
            <p:nvPr/>
          </p:nvSpPr>
          <p:spPr bwMode="auto">
            <a:xfrm>
              <a:off x="1554162" y="4567970"/>
              <a:ext cx="760413" cy="549275"/>
            </a:xfrm>
            <a:custGeom>
              <a:avLst/>
              <a:gdLst>
                <a:gd name="T0" fmla="*/ 2147483647 w 368"/>
                <a:gd name="T1" fmla="*/ 0 h 296"/>
                <a:gd name="T2" fmla="*/ 2147483647 w 368"/>
                <a:gd name="T3" fmla="*/ 2147483647 h 296"/>
                <a:gd name="T4" fmla="*/ 2147483647 w 368"/>
                <a:gd name="T5" fmla="*/ 2147483647 h 296"/>
                <a:gd name="T6" fmla="*/ 2147483647 w 368"/>
                <a:gd name="T7" fmla="*/ 2147483647 h 296"/>
                <a:gd name="T8" fmla="*/ 2147483647 w 368"/>
                <a:gd name="T9" fmla="*/ 2147483647 h 296"/>
                <a:gd name="T10" fmla="*/ 2147483647 w 368"/>
                <a:gd name="T11" fmla="*/ 2147483647 h 296"/>
                <a:gd name="T12" fmla="*/ 2147483647 w 368"/>
                <a:gd name="T13" fmla="*/ 2147483647 h 296"/>
                <a:gd name="T14" fmla="*/ 2147483647 w 368"/>
                <a:gd name="T15" fmla="*/ 2147483647 h 296"/>
                <a:gd name="T16" fmla="*/ 2147483647 w 368"/>
                <a:gd name="T17" fmla="*/ 2147483647 h 296"/>
                <a:gd name="T18" fmla="*/ 2147483647 w 368"/>
                <a:gd name="T19" fmla="*/ 2147483647 h 296"/>
                <a:gd name="T20" fmla="*/ 2147483647 w 368"/>
                <a:gd name="T21" fmla="*/ 2147483647 h 296"/>
                <a:gd name="T22" fmla="*/ 2147483647 w 368"/>
                <a:gd name="T23" fmla="*/ 2147483647 h 296"/>
                <a:gd name="T24" fmla="*/ 2147483647 w 368"/>
                <a:gd name="T25" fmla="*/ 2147483647 h 296"/>
                <a:gd name="T26" fmla="*/ 2147483647 w 368"/>
                <a:gd name="T27" fmla="*/ 2147483647 h 296"/>
                <a:gd name="T28" fmla="*/ 2147483647 w 368"/>
                <a:gd name="T29" fmla="*/ 2147483647 h 296"/>
                <a:gd name="T30" fmla="*/ 2147483647 w 368"/>
                <a:gd name="T31" fmla="*/ 2147483647 h 296"/>
                <a:gd name="T32" fmla="*/ 2147483647 w 368"/>
                <a:gd name="T33" fmla="*/ 2147483647 h 296"/>
                <a:gd name="T34" fmla="*/ 2147483647 w 368"/>
                <a:gd name="T35" fmla="*/ 2147483647 h 296"/>
                <a:gd name="T36" fmla="*/ 2147483647 w 368"/>
                <a:gd name="T37" fmla="*/ 2147483647 h 296"/>
                <a:gd name="T38" fmla="*/ 2147483647 w 368"/>
                <a:gd name="T39" fmla="*/ 2147483647 h 296"/>
                <a:gd name="T40" fmla="*/ 2147483647 w 368"/>
                <a:gd name="T41" fmla="*/ 2147483647 h 296"/>
                <a:gd name="T42" fmla="*/ 2147483647 w 368"/>
                <a:gd name="T43" fmla="*/ 2147483647 h 296"/>
                <a:gd name="T44" fmla="*/ 2147483647 w 368"/>
                <a:gd name="T45" fmla="*/ 2147483647 h 296"/>
                <a:gd name="T46" fmla="*/ 2147483647 w 368"/>
                <a:gd name="T47" fmla="*/ 2147483647 h 296"/>
                <a:gd name="T48" fmla="*/ 2147483647 w 368"/>
                <a:gd name="T49" fmla="*/ 2147483647 h 296"/>
                <a:gd name="T50" fmla="*/ 2147483647 w 368"/>
                <a:gd name="T51" fmla="*/ 2147483647 h 296"/>
                <a:gd name="T52" fmla="*/ 2147483647 w 368"/>
                <a:gd name="T53" fmla="*/ 2147483647 h 296"/>
                <a:gd name="T54" fmla="*/ 2147483647 w 368"/>
                <a:gd name="T55" fmla="*/ 0 h 296"/>
                <a:gd name="T56" fmla="*/ 2147483647 w 368"/>
                <a:gd name="T57" fmla="*/ 2147483647 h 296"/>
                <a:gd name="T58" fmla="*/ 2147483647 w 368"/>
                <a:gd name="T59" fmla="*/ 2147483647 h 296"/>
                <a:gd name="T60" fmla="*/ 2147483647 w 368"/>
                <a:gd name="T61" fmla="*/ 2147483647 h 296"/>
                <a:gd name="T62" fmla="*/ 2147483647 w 368"/>
                <a:gd name="T63" fmla="*/ 2147483647 h 296"/>
                <a:gd name="T64" fmla="*/ 2147483647 w 368"/>
                <a:gd name="T65" fmla="*/ 2147483647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68"/>
                <a:gd name="T100" fmla="*/ 0 h 296"/>
                <a:gd name="T101" fmla="*/ 368 w 368"/>
                <a:gd name="T102" fmla="*/ 296 h 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68" h="296">
                  <a:moveTo>
                    <a:pt x="344" y="0"/>
                  </a:moveTo>
                  <a:cubicBezTo>
                    <a:pt x="321" y="0"/>
                    <a:pt x="321" y="0"/>
                    <a:pt x="321" y="0"/>
                  </a:cubicBezTo>
                  <a:cubicBezTo>
                    <a:pt x="303" y="0"/>
                    <a:pt x="294" y="14"/>
                    <a:pt x="291" y="26"/>
                  </a:cubicBezTo>
                  <a:cubicBezTo>
                    <a:pt x="291" y="27"/>
                    <a:pt x="289" y="37"/>
                    <a:pt x="287" y="49"/>
                  </a:cubicBezTo>
                  <a:cubicBezTo>
                    <a:pt x="283" y="47"/>
                    <a:pt x="278" y="45"/>
                    <a:pt x="272" y="45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18" y="45"/>
                    <a:pt x="11" y="48"/>
                    <a:pt x="6" y="54"/>
                  </a:cubicBezTo>
                  <a:cubicBezTo>
                    <a:pt x="1" y="60"/>
                    <a:pt x="0" y="68"/>
                    <a:pt x="1" y="76"/>
                  </a:cubicBezTo>
                  <a:cubicBezTo>
                    <a:pt x="2" y="82"/>
                    <a:pt x="21" y="198"/>
                    <a:pt x="22" y="199"/>
                  </a:cubicBezTo>
                  <a:cubicBezTo>
                    <a:pt x="23" y="208"/>
                    <a:pt x="33" y="220"/>
                    <a:pt x="48" y="220"/>
                  </a:cubicBezTo>
                  <a:cubicBezTo>
                    <a:pt x="248" y="220"/>
                    <a:pt x="248" y="220"/>
                    <a:pt x="248" y="220"/>
                  </a:cubicBezTo>
                  <a:cubicBezTo>
                    <a:pt x="250" y="220"/>
                    <a:pt x="253" y="220"/>
                    <a:pt x="255" y="219"/>
                  </a:cubicBezTo>
                  <a:cubicBezTo>
                    <a:pt x="252" y="234"/>
                    <a:pt x="248" y="251"/>
                    <a:pt x="248" y="253"/>
                  </a:cubicBezTo>
                  <a:cubicBezTo>
                    <a:pt x="247" y="258"/>
                    <a:pt x="247" y="259"/>
                    <a:pt x="241" y="259"/>
                  </a:cubicBezTo>
                  <a:cubicBezTo>
                    <a:pt x="239" y="259"/>
                    <a:pt x="239" y="259"/>
                    <a:pt x="239" y="259"/>
                  </a:cubicBezTo>
                  <a:cubicBezTo>
                    <a:pt x="235" y="248"/>
                    <a:pt x="224" y="239"/>
                    <a:pt x="211" y="239"/>
                  </a:cubicBezTo>
                  <a:cubicBezTo>
                    <a:pt x="198" y="239"/>
                    <a:pt x="187" y="248"/>
                    <a:pt x="184" y="259"/>
                  </a:cubicBezTo>
                  <a:cubicBezTo>
                    <a:pt x="90" y="259"/>
                    <a:pt x="90" y="259"/>
                    <a:pt x="90" y="259"/>
                  </a:cubicBezTo>
                  <a:cubicBezTo>
                    <a:pt x="86" y="248"/>
                    <a:pt x="75" y="239"/>
                    <a:pt x="62" y="239"/>
                  </a:cubicBezTo>
                  <a:cubicBezTo>
                    <a:pt x="46" y="239"/>
                    <a:pt x="34" y="252"/>
                    <a:pt x="34" y="267"/>
                  </a:cubicBezTo>
                  <a:cubicBezTo>
                    <a:pt x="34" y="283"/>
                    <a:pt x="46" y="296"/>
                    <a:pt x="62" y="296"/>
                  </a:cubicBezTo>
                  <a:cubicBezTo>
                    <a:pt x="75" y="296"/>
                    <a:pt x="86" y="287"/>
                    <a:pt x="90" y="275"/>
                  </a:cubicBezTo>
                  <a:cubicBezTo>
                    <a:pt x="184" y="275"/>
                    <a:pt x="184" y="275"/>
                    <a:pt x="184" y="275"/>
                  </a:cubicBezTo>
                  <a:cubicBezTo>
                    <a:pt x="187" y="287"/>
                    <a:pt x="198" y="296"/>
                    <a:pt x="211" y="296"/>
                  </a:cubicBezTo>
                  <a:cubicBezTo>
                    <a:pt x="224" y="296"/>
                    <a:pt x="235" y="287"/>
                    <a:pt x="239" y="275"/>
                  </a:cubicBezTo>
                  <a:cubicBezTo>
                    <a:pt x="241" y="275"/>
                    <a:pt x="241" y="275"/>
                    <a:pt x="241" y="275"/>
                  </a:cubicBezTo>
                  <a:cubicBezTo>
                    <a:pt x="259" y="275"/>
                    <a:pt x="262" y="262"/>
                    <a:pt x="263" y="257"/>
                  </a:cubicBezTo>
                  <a:cubicBezTo>
                    <a:pt x="264" y="254"/>
                    <a:pt x="288" y="127"/>
                    <a:pt x="288" y="127"/>
                  </a:cubicBezTo>
                  <a:cubicBezTo>
                    <a:pt x="289" y="123"/>
                    <a:pt x="286" y="118"/>
                    <a:pt x="282" y="118"/>
                  </a:cubicBezTo>
                  <a:cubicBezTo>
                    <a:pt x="277" y="117"/>
                    <a:pt x="273" y="120"/>
                    <a:pt x="272" y="124"/>
                  </a:cubicBezTo>
                  <a:cubicBezTo>
                    <a:pt x="272" y="124"/>
                    <a:pt x="259" y="194"/>
                    <a:pt x="259" y="195"/>
                  </a:cubicBezTo>
                  <a:cubicBezTo>
                    <a:pt x="257" y="201"/>
                    <a:pt x="254" y="204"/>
                    <a:pt x="248" y="204"/>
                  </a:cubicBezTo>
                  <a:cubicBezTo>
                    <a:pt x="48" y="204"/>
                    <a:pt x="48" y="204"/>
                    <a:pt x="48" y="204"/>
                  </a:cubicBezTo>
                  <a:cubicBezTo>
                    <a:pt x="41" y="204"/>
                    <a:pt x="38" y="198"/>
                    <a:pt x="37" y="196"/>
                  </a:cubicBezTo>
                  <a:cubicBezTo>
                    <a:pt x="37" y="192"/>
                    <a:pt x="18" y="79"/>
                    <a:pt x="17" y="74"/>
                  </a:cubicBezTo>
                  <a:cubicBezTo>
                    <a:pt x="16" y="70"/>
                    <a:pt x="17" y="67"/>
                    <a:pt x="19" y="64"/>
                  </a:cubicBezTo>
                  <a:cubicBezTo>
                    <a:pt x="21" y="62"/>
                    <a:pt x="23" y="61"/>
                    <a:pt x="25" y="61"/>
                  </a:cubicBezTo>
                  <a:cubicBezTo>
                    <a:pt x="272" y="61"/>
                    <a:pt x="272" y="61"/>
                    <a:pt x="272" y="61"/>
                  </a:cubicBezTo>
                  <a:cubicBezTo>
                    <a:pt x="276" y="61"/>
                    <a:pt x="278" y="62"/>
                    <a:pt x="280" y="64"/>
                  </a:cubicBezTo>
                  <a:cubicBezTo>
                    <a:pt x="282" y="67"/>
                    <a:pt x="282" y="71"/>
                    <a:pt x="282" y="74"/>
                  </a:cubicBezTo>
                  <a:cubicBezTo>
                    <a:pt x="282" y="75"/>
                    <a:pt x="279" y="88"/>
                    <a:pt x="278" y="92"/>
                  </a:cubicBezTo>
                  <a:cubicBezTo>
                    <a:pt x="278" y="92"/>
                    <a:pt x="278" y="92"/>
                    <a:pt x="278" y="92"/>
                  </a:cubicBezTo>
                  <a:cubicBezTo>
                    <a:pt x="277" y="96"/>
                    <a:pt x="280" y="100"/>
                    <a:pt x="285" y="101"/>
                  </a:cubicBezTo>
                  <a:cubicBezTo>
                    <a:pt x="289" y="102"/>
                    <a:pt x="294" y="99"/>
                    <a:pt x="295" y="95"/>
                  </a:cubicBezTo>
                  <a:cubicBezTo>
                    <a:pt x="295" y="92"/>
                    <a:pt x="307" y="30"/>
                    <a:pt x="307" y="29"/>
                  </a:cubicBezTo>
                  <a:cubicBezTo>
                    <a:pt x="308" y="25"/>
                    <a:pt x="311" y="16"/>
                    <a:pt x="321" y="16"/>
                  </a:cubicBezTo>
                  <a:cubicBezTo>
                    <a:pt x="344" y="16"/>
                    <a:pt x="344" y="16"/>
                    <a:pt x="344" y="16"/>
                  </a:cubicBezTo>
                  <a:cubicBezTo>
                    <a:pt x="350" y="16"/>
                    <a:pt x="352" y="20"/>
                    <a:pt x="352" y="23"/>
                  </a:cubicBezTo>
                  <a:cubicBezTo>
                    <a:pt x="352" y="26"/>
                    <a:pt x="349" y="28"/>
                    <a:pt x="344" y="28"/>
                  </a:cubicBezTo>
                  <a:cubicBezTo>
                    <a:pt x="330" y="28"/>
                    <a:pt x="330" y="28"/>
                    <a:pt x="330" y="28"/>
                  </a:cubicBezTo>
                  <a:cubicBezTo>
                    <a:pt x="326" y="28"/>
                    <a:pt x="322" y="32"/>
                    <a:pt x="322" y="36"/>
                  </a:cubicBezTo>
                  <a:cubicBezTo>
                    <a:pt x="322" y="41"/>
                    <a:pt x="326" y="44"/>
                    <a:pt x="330" y="44"/>
                  </a:cubicBezTo>
                  <a:cubicBezTo>
                    <a:pt x="344" y="44"/>
                    <a:pt x="344" y="44"/>
                    <a:pt x="344" y="44"/>
                  </a:cubicBezTo>
                  <a:cubicBezTo>
                    <a:pt x="353" y="44"/>
                    <a:pt x="358" y="41"/>
                    <a:pt x="362" y="38"/>
                  </a:cubicBezTo>
                  <a:cubicBezTo>
                    <a:pt x="366" y="34"/>
                    <a:pt x="368" y="28"/>
                    <a:pt x="368" y="23"/>
                  </a:cubicBezTo>
                  <a:cubicBezTo>
                    <a:pt x="368" y="12"/>
                    <a:pt x="359" y="0"/>
                    <a:pt x="344" y="0"/>
                  </a:cubicBezTo>
                  <a:close/>
                  <a:moveTo>
                    <a:pt x="62" y="280"/>
                  </a:moveTo>
                  <a:cubicBezTo>
                    <a:pt x="55" y="280"/>
                    <a:pt x="50" y="274"/>
                    <a:pt x="50" y="267"/>
                  </a:cubicBezTo>
                  <a:cubicBezTo>
                    <a:pt x="50" y="260"/>
                    <a:pt x="55" y="255"/>
                    <a:pt x="62" y="255"/>
                  </a:cubicBezTo>
                  <a:cubicBezTo>
                    <a:pt x="69" y="255"/>
                    <a:pt x="75" y="260"/>
                    <a:pt x="75" y="267"/>
                  </a:cubicBezTo>
                  <a:cubicBezTo>
                    <a:pt x="75" y="274"/>
                    <a:pt x="69" y="280"/>
                    <a:pt x="62" y="280"/>
                  </a:cubicBezTo>
                  <a:close/>
                  <a:moveTo>
                    <a:pt x="211" y="280"/>
                  </a:moveTo>
                  <a:cubicBezTo>
                    <a:pt x="204" y="280"/>
                    <a:pt x="199" y="274"/>
                    <a:pt x="199" y="267"/>
                  </a:cubicBezTo>
                  <a:cubicBezTo>
                    <a:pt x="199" y="260"/>
                    <a:pt x="204" y="255"/>
                    <a:pt x="211" y="255"/>
                  </a:cubicBezTo>
                  <a:cubicBezTo>
                    <a:pt x="218" y="255"/>
                    <a:pt x="224" y="260"/>
                    <a:pt x="224" y="267"/>
                  </a:cubicBezTo>
                  <a:cubicBezTo>
                    <a:pt x="224" y="274"/>
                    <a:pt x="218" y="280"/>
                    <a:pt x="211" y="2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620246" y="4580898"/>
              <a:ext cx="247470" cy="416392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Ericsson Capital TT"/>
                  <a:ea typeface="MS PGothic" pitchFamily="34" charset="-128"/>
                  <a:cs typeface="Arial" charset="0"/>
                </a:rPr>
                <a:t>@</a:t>
              </a:r>
            </a:p>
          </p:txBody>
        </p:sp>
      </p:grpSp>
      <p:sp>
        <p:nvSpPr>
          <p:cNvPr id="15365" name="Freeform 3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60388" y="3100388"/>
            <a:ext cx="868362" cy="422275"/>
          </a:xfrm>
          <a:custGeom>
            <a:avLst/>
            <a:gdLst>
              <a:gd name="T0" fmla="*/ 2147483646 w 448"/>
              <a:gd name="T1" fmla="*/ 2147483646 h 208"/>
              <a:gd name="T2" fmla="*/ 2147483646 w 448"/>
              <a:gd name="T3" fmla="*/ 2147483646 h 208"/>
              <a:gd name="T4" fmla="*/ 2147483646 w 448"/>
              <a:gd name="T5" fmla="*/ 2147483646 h 208"/>
              <a:gd name="T6" fmla="*/ 2147483646 w 448"/>
              <a:gd name="T7" fmla="*/ 2147483646 h 208"/>
              <a:gd name="T8" fmla="*/ 2147483646 w 448"/>
              <a:gd name="T9" fmla="*/ 2147483646 h 208"/>
              <a:gd name="T10" fmla="*/ 2147483646 w 448"/>
              <a:gd name="T11" fmla="*/ 2147483646 h 208"/>
              <a:gd name="T12" fmla="*/ 2147483646 w 448"/>
              <a:gd name="T13" fmla="*/ 2147483646 h 208"/>
              <a:gd name="T14" fmla="*/ 2147483646 w 448"/>
              <a:gd name="T15" fmla="*/ 2147483646 h 208"/>
              <a:gd name="T16" fmla="*/ 2147483646 w 448"/>
              <a:gd name="T17" fmla="*/ 2147483646 h 208"/>
              <a:gd name="T18" fmla="*/ 2147483646 w 448"/>
              <a:gd name="T19" fmla="*/ 2147483646 h 208"/>
              <a:gd name="T20" fmla="*/ 2147483646 w 448"/>
              <a:gd name="T21" fmla="*/ 2147483646 h 208"/>
              <a:gd name="T22" fmla="*/ 2147483646 w 448"/>
              <a:gd name="T23" fmla="*/ 2147483646 h 208"/>
              <a:gd name="T24" fmla="*/ 2147483646 w 448"/>
              <a:gd name="T25" fmla="*/ 2147483646 h 208"/>
              <a:gd name="T26" fmla="*/ 2147483646 w 448"/>
              <a:gd name="T27" fmla="*/ 2147483646 h 208"/>
              <a:gd name="T28" fmla="*/ 2147483646 w 448"/>
              <a:gd name="T29" fmla="*/ 2147483646 h 208"/>
              <a:gd name="T30" fmla="*/ 2147483646 w 448"/>
              <a:gd name="T31" fmla="*/ 2147483646 h 208"/>
              <a:gd name="T32" fmla="*/ 2147483646 w 448"/>
              <a:gd name="T33" fmla="*/ 2147483646 h 208"/>
              <a:gd name="T34" fmla="*/ 2147483646 w 448"/>
              <a:gd name="T35" fmla="*/ 2147483646 h 208"/>
              <a:gd name="T36" fmla="*/ 2147483646 w 448"/>
              <a:gd name="T37" fmla="*/ 2147483646 h 208"/>
              <a:gd name="T38" fmla="*/ 2147483646 w 448"/>
              <a:gd name="T39" fmla="*/ 2147483646 h 208"/>
              <a:gd name="T40" fmla="*/ 2147483646 w 448"/>
              <a:gd name="T41" fmla="*/ 2147483646 h 208"/>
              <a:gd name="T42" fmla="*/ 2147483646 w 448"/>
              <a:gd name="T43" fmla="*/ 2147483646 h 208"/>
              <a:gd name="T44" fmla="*/ 2147483646 w 448"/>
              <a:gd name="T45" fmla="*/ 2147483646 h 208"/>
              <a:gd name="T46" fmla="*/ 2147483646 w 448"/>
              <a:gd name="T47" fmla="*/ 2147483646 h 208"/>
              <a:gd name="T48" fmla="*/ 2147483646 w 448"/>
              <a:gd name="T49" fmla="*/ 2147483646 h 208"/>
              <a:gd name="T50" fmla="*/ 2147483646 w 448"/>
              <a:gd name="T51" fmla="*/ 2147483646 h 208"/>
              <a:gd name="T52" fmla="*/ 2147483646 w 448"/>
              <a:gd name="T53" fmla="*/ 2147483646 h 208"/>
              <a:gd name="T54" fmla="*/ 2147483646 w 448"/>
              <a:gd name="T55" fmla="*/ 2147483646 h 208"/>
              <a:gd name="T56" fmla="*/ 2147483646 w 448"/>
              <a:gd name="T57" fmla="*/ 2147483646 h 208"/>
              <a:gd name="T58" fmla="*/ 2147483646 w 448"/>
              <a:gd name="T59" fmla="*/ 2147483646 h 208"/>
              <a:gd name="T60" fmla="*/ 2147483646 w 448"/>
              <a:gd name="T61" fmla="*/ 2147483646 h 208"/>
              <a:gd name="T62" fmla="*/ 2147483646 w 448"/>
              <a:gd name="T63" fmla="*/ 2147483646 h 208"/>
              <a:gd name="T64" fmla="*/ 2147483646 w 448"/>
              <a:gd name="T65" fmla="*/ 2147483646 h 208"/>
              <a:gd name="T66" fmla="*/ 2147483646 w 448"/>
              <a:gd name="T67" fmla="*/ 2147483646 h 20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448"/>
              <a:gd name="T103" fmla="*/ 0 h 208"/>
              <a:gd name="T104" fmla="*/ 448 w 448"/>
              <a:gd name="T105" fmla="*/ 208 h 20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448" h="208">
                <a:moveTo>
                  <a:pt x="447" y="114"/>
                </a:moveTo>
                <a:cubicBezTo>
                  <a:pt x="446" y="110"/>
                  <a:pt x="442" y="107"/>
                  <a:pt x="437" y="108"/>
                </a:cubicBezTo>
                <a:cubicBezTo>
                  <a:pt x="433" y="109"/>
                  <a:pt x="431" y="114"/>
                  <a:pt x="432" y="118"/>
                </a:cubicBezTo>
                <a:cubicBezTo>
                  <a:pt x="432" y="120"/>
                  <a:pt x="432" y="122"/>
                  <a:pt x="432" y="125"/>
                </a:cubicBezTo>
                <a:cubicBezTo>
                  <a:pt x="432" y="142"/>
                  <a:pt x="427" y="154"/>
                  <a:pt x="423" y="161"/>
                </a:cubicBezTo>
                <a:cubicBezTo>
                  <a:pt x="420" y="164"/>
                  <a:pt x="418" y="167"/>
                  <a:pt x="416" y="169"/>
                </a:cubicBezTo>
                <a:cubicBezTo>
                  <a:pt x="416" y="169"/>
                  <a:pt x="416" y="169"/>
                  <a:pt x="416" y="169"/>
                </a:cubicBezTo>
                <a:cubicBezTo>
                  <a:pt x="413" y="169"/>
                  <a:pt x="410" y="169"/>
                  <a:pt x="408" y="169"/>
                </a:cubicBezTo>
                <a:cubicBezTo>
                  <a:pt x="408" y="167"/>
                  <a:pt x="408" y="165"/>
                  <a:pt x="408" y="163"/>
                </a:cubicBezTo>
                <a:cubicBezTo>
                  <a:pt x="408" y="139"/>
                  <a:pt x="388" y="119"/>
                  <a:pt x="363" y="119"/>
                </a:cubicBezTo>
                <a:cubicBezTo>
                  <a:pt x="339" y="119"/>
                  <a:pt x="319" y="139"/>
                  <a:pt x="319" y="163"/>
                </a:cubicBezTo>
                <a:cubicBezTo>
                  <a:pt x="319" y="165"/>
                  <a:pt x="319" y="167"/>
                  <a:pt x="319" y="169"/>
                </a:cubicBezTo>
                <a:cubicBezTo>
                  <a:pt x="266" y="169"/>
                  <a:pt x="197" y="169"/>
                  <a:pt x="140" y="169"/>
                </a:cubicBezTo>
                <a:cubicBezTo>
                  <a:pt x="141" y="167"/>
                  <a:pt x="141" y="165"/>
                  <a:pt x="141" y="163"/>
                </a:cubicBezTo>
                <a:cubicBezTo>
                  <a:pt x="141" y="139"/>
                  <a:pt x="121" y="119"/>
                  <a:pt x="96" y="119"/>
                </a:cubicBezTo>
                <a:cubicBezTo>
                  <a:pt x="71" y="119"/>
                  <a:pt x="52" y="139"/>
                  <a:pt x="51" y="163"/>
                </a:cubicBezTo>
                <a:cubicBezTo>
                  <a:pt x="51" y="165"/>
                  <a:pt x="52" y="167"/>
                  <a:pt x="52" y="169"/>
                </a:cubicBezTo>
                <a:cubicBezTo>
                  <a:pt x="40" y="169"/>
                  <a:pt x="32" y="169"/>
                  <a:pt x="29" y="169"/>
                </a:cubicBezTo>
                <a:cubicBezTo>
                  <a:pt x="23" y="169"/>
                  <a:pt x="21" y="167"/>
                  <a:pt x="19" y="163"/>
                </a:cubicBezTo>
                <a:cubicBezTo>
                  <a:pt x="17" y="159"/>
                  <a:pt x="16" y="152"/>
                  <a:pt x="16" y="147"/>
                </a:cubicBezTo>
                <a:cubicBezTo>
                  <a:pt x="16" y="136"/>
                  <a:pt x="21" y="126"/>
                  <a:pt x="30" y="118"/>
                </a:cubicBezTo>
                <a:cubicBezTo>
                  <a:pt x="44" y="105"/>
                  <a:pt x="67" y="96"/>
                  <a:pt x="85" y="90"/>
                </a:cubicBezTo>
                <a:cubicBezTo>
                  <a:pt x="95" y="87"/>
                  <a:pt x="103" y="85"/>
                  <a:pt x="109" y="84"/>
                </a:cubicBezTo>
                <a:cubicBezTo>
                  <a:pt x="114" y="83"/>
                  <a:pt x="117" y="82"/>
                  <a:pt x="119" y="82"/>
                </a:cubicBezTo>
                <a:cubicBezTo>
                  <a:pt x="384" y="82"/>
                  <a:pt x="384" y="82"/>
                  <a:pt x="384" y="82"/>
                </a:cubicBezTo>
                <a:cubicBezTo>
                  <a:pt x="385" y="82"/>
                  <a:pt x="386" y="82"/>
                  <a:pt x="386" y="83"/>
                </a:cubicBezTo>
                <a:cubicBezTo>
                  <a:pt x="392" y="84"/>
                  <a:pt x="406" y="89"/>
                  <a:pt x="417" y="97"/>
                </a:cubicBezTo>
                <a:cubicBezTo>
                  <a:pt x="420" y="100"/>
                  <a:pt x="425" y="99"/>
                  <a:pt x="428" y="96"/>
                </a:cubicBezTo>
                <a:cubicBezTo>
                  <a:pt x="430" y="92"/>
                  <a:pt x="430" y="87"/>
                  <a:pt x="426" y="84"/>
                </a:cubicBezTo>
                <a:cubicBezTo>
                  <a:pt x="412" y="74"/>
                  <a:pt x="397" y="69"/>
                  <a:pt x="390" y="67"/>
                </a:cubicBezTo>
                <a:cubicBezTo>
                  <a:pt x="380" y="55"/>
                  <a:pt x="333" y="0"/>
                  <a:pt x="248" y="0"/>
                </a:cubicBezTo>
                <a:cubicBezTo>
                  <a:pt x="165" y="0"/>
                  <a:pt x="123" y="53"/>
                  <a:pt x="113" y="67"/>
                </a:cubicBezTo>
                <a:cubicBezTo>
                  <a:pt x="105" y="68"/>
                  <a:pt x="82" y="73"/>
                  <a:pt x="60" y="82"/>
                </a:cubicBezTo>
                <a:cubicBezTo>
                  <a:pt x="46" y="88"/>
                  <a:pt x="31" y="96"/>
                  <a:pt x="20" y="106"/>
                </a:cubicBezTo>
                <a:cubicBezTo>
                  <a:pt x="8" y="116"/>
                  <a:pt x="0" y="130"/>
                  <a:pt x="0" y="147"/>
                </a:cubicBezTo>
                <a:cubicBezTo>
                  <a:pt x="0" y="153"/>
                  <a:pt x="1" y="162"/>
                  <a:pt x="5" y="170"/>
                </a:cubicBezTo>
                <a:cubicBezTo>
                  <a:pt x="8" y="178"/>
                  <a:pt x="17" y="185"/>
                  <a:pt x="29" y="185"/>
                </a:cubicBezTo>
                <a:cubicBezTo>
                  <a:pt x="29" y="185"/>
                  <a:pt x="29" y="185"/>
                  <a:pt x="29" y="185"/>
                </a:cubicBezTo>
                <a:cubicBezTo>
                  <a:pt x="32" y="185"/>
                  <a:pt x="42" y="185"/>
                  <a:pt x="57" y="185"/>
                </a:cubicBezTo>
                <a:cubicBezTo>
                  <a:pt x="65" y="199"/>
                  <a:pt x="79" y="208"/>
                  <a:pt x="96" y="208"/>
                </a:cubicBezTo>
                <a:cubicBezTo>
                  <a:pt x="113" y="208"/>
                  <a:pt x="127" y="199"/>
                  <a:pt x="135" y="185"/>
                </a:cubicBezTo>
                <a:cubicBezTo>
                  <a:pt x="195" y="185"/>
                  <a:pt x="269" y="185"/>
                  <a:pt x="324" y="185"/>
                </a:cubicBezTo>
                <a:cubicBezTo>
                  <a:pt x="332" y="199"/>
                  <a:pt x="347" y="208"/>
                  <a:pt x="363" y="208"/>
                </a:cubicBezTo>
                <a:cubicBezTo>
                  <a:pt x="380" y="208"/>
                  <a:pt x="395" y="199"/>
                  <a:pt x="402" y="185"/>
                </a:cubicBezTo>
                <a:cubicBezTo>
                  <a:pt x="402" y="185"/>
                  <a:pt x="402" y="185"/>
                  <a:pt x="402" y="185"/>
                </a:cubicBezTo>
                <a:cubicBezTo>
                  <a:pt x="405" y="185"/>
                  <a:pt x="419" y="185"/>
                  <a:pt x="419" y="185"/>
                </a:cubicBezTo>
                <a:cubicBezTo>
                  <a:pt x="420" y="185"/>
                  <a:pt x="422" y="185"/>
                  <a:pt x="423" y="184"/>
                </a:cubicBezTo>
                <a:cubicBezTo>
                  <a:pt x="424" y="183"/>
                  <a:pt x="448" y="166"/>
                  <a:pt x="448" y="125"/>
                </a:cubicBezTo>
                <a:cubicBezTo>
                  <a:pt x="448" y="121"/>
                  <a:pt x="448" y="117"/>
                  <a:pt x="447" y="114"/>
                </a:cubicBezTo>
                <a:close/>
                <a:moveTo>
                  <a:pt x="368" y="66"/>
                </a:moveTo>
                <a:cubicBezTo>
                  <a:pt x="256" y="66"/>
                  <a:pt x="256" y="66"/>
                  <a:pt x="256" y="66"/>
                </a:cubicBezTo>
                <a:cubicBezTo>
                  <a:pt x="256" y="16"/>
                  <a:pt x="256" y="16"/>
                  <a:pt x="256" y="16"/>
                </a:cubicBezTo>
                <a:cubicBezTo>
                  <a:pt x="296" y="18"/>
                  <a:pt x="326" y="32"/>
                  <a:pt x="346" y="47"/>
                </a:cubicBezTo>
                <a:cubicBezTo>
                  <a:pt x="355" y="54"/>
                  <a:pt x="363" y="61"/>
                  <a:pt x="368" y="66"/>
                </a:cubicBezTo>
                <a:close/>
                <a:moveTo>
                  <a:pt x="240" y="16"/>
                </a:moveTo>
                <a:cubicBezTo>
                  <a:pt x="240" y="66"/>
                  <a:pt x="240" y="66"/>
                  <a:pt x="240" y="66"/>
                </a:cubicBezTo>
                <a:cubicBezTo>
                  <a:pt x="134" y="66"/>
                  <a:pt x="134" y="66"/>
                  <a:pt x="134" y="66"/>
                </a:cubicBezTo>
                <a:cubicBezTo>
                  <a:pt x="149" y="49"/>
                  <a:pt x="183" y="18"/>
                  <a:pt x="240" y="16"/>
                </a:cubicBezTo>
                <a:close/>
                <a:moveTo>
                  <a:pt x="96" y="192"/>
                </a:moveTo>
                <a:cubicBezTo>
                  <a:pt x="80" y="192"/>
                  <a:pt x="68" y="179"/>
                  <a:pt x="67" y="163"/>
                </a:cubicBezTo>
                <a:cubicBezTo>
                  <a:pt x="68" y="148"/>
                  <a:pt x="80" y="135"/>
                  <a:pt x="96" y="135"/>
                </a:cubicBezTo>
                <a:cubicBezTo>
                  <a:pt x="112" y="135"/>
                  <a:pt x="125" y="148"/>
                  <a:pt x="125" y="163"/>
                </a:cubicBezTo>
                <a:cubicBezTo>
                  <a:pt x="125" y="179"/>
                  <a:pt x="112" y="192"/>
                  <a:pt x="96" y="192"/>
                </a:cubicBezTo>
                <a:close/>
                <a:moveTo>
                  <a:pt x="363" y="192"/>
                </a:moveTo>
                <a:cubicBezTo>
                  <a:pt x="347" y="192"/>
                  <a:pt x="335" y="179"/>
                  <a:pt x="335" y="163"/>
                </a:cubicBezTo>
                <a:cubicBezTo>
                  <a:pt x="335" y="148"/>
                  <a:pt x="347" y="135"/>
                  <a:pt x="363" y="135"/>
                </a:cubicBezTo>
                <a:cubicBezTo>
                  <a:pt x="379" y="135"/>
                  <a:pt x="392" y="148"/>
                  <a:pt x="392" y="163"/>
                </a:cubicBezTo>
                <a:cubicBezTo>
                  <a:pt x="392" y="179"/>
                  <a:pt x="379" y="192"/>
                  <a:pt x="363" y="19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77" tIns="45688" rIns="91377" bIns="4568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66" name="Freeform 28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8919035" y="4479879"/>
            <a:ext cx="490538" cy="762000"/>
          </a:xfrm>
          <a:custGeom>
            <a:avLst/>
            <a:gdLst>
              <a:gd name="T0" fmla="*/ 2147483646 w 275"/>
              <a:gd name="T1" fmla="*/ 2147483646 h 503"/>
              <a:gd name="T2" fmla="*/ 2147483646 w 275"/>
              <a:gd name="T3" fmla="*/ 2147483646 h 503"/>
              <a:gd name="T4" fmla="*/ 2147483646 w 275"/>
              <a:gd name="T5" fmla="*/ 2147483646 h 503"/>
              <a:gd name="T6" fmla="*/ 2147483646 w 275"/>
              <a:gd name="T7" fmla="*/ 2147483646 h 503"/>
              <a:gd name="T8" fmla="*/ 2147483646 w 275"/>
              <a:gd name="T9" fmla="*/ 2147483646 h 503"/>
              <a:gd name="T10" fmla="*/ 2147483646 w 275"/>
              <a:gd name="T11" fmla="*/ 2147483646 h 503"/>
              <a:gd name="T12" fmla="*/ 2147483646 w 275"/>
              <a:gd name="T13" fmla="*/ 2147483646 h 503"/>
              <a:gd name="T14" fmla="*/ 2147483646 w 275"/>
              <a:gd name="T15" fmla="*/ 2147483646 h 503"/>
              <a:gd name="T16" fmla="*/ 2147483646 w 275"/>
              <a:gd name="T17" fmla="*/ 2147483646 h 503"/>
              <a:gd name="T18" fmla="*/ 2147483646 w 275"/>
              <a:gd name="T19" fmla="*/ 2147483646 h 503"/>
              <a:gd name="T20" fmla="*/ 2147483646 w 275"/>
              <a:gd name="T21" fmla="*/ 2147483646 h 503"/>
              <a:gd name="T22" fmla="*/ 2147483646 w 275"/>
              <a:gd name="T23" fmla="*/ 2147483646 h 503"/>
              <a:gd name="T24" fmla="*/ 2147483646 w 275"/>
              <a:gd name="T25" fmla="*/ 2147483646 h 503"/>
              <a:gd name="T26" fmla="*/ 2147483646 w 275"/>
              <a:gd name="T27" fmla="*/ 2147483646 h 503"/>
              <a:gd name="T28" fmla="*/ 2147483646 w 275"/>
              <a:gd name="T29" fmla="*/ 2147483646 h 503"/>
              <a:gd name="T30" fmla="*/ 2147483646 w 275"/>
              <a:gd name="T31" fmla="*/ 2147483646 h 503"/>
              <a:gd name="T32" fmla="*/ 2147483646 w 275"/>
              <a:gd name="T33" fmla="*/ 2147483646 h 503"/>
              <a:gd name="T34" fmla="*/ 2147483646 w 275"/>
              <a:gd name="T35" fmla="*/ 2147483646 h 503"/>
              <a:gd name="T36" fmla="*/ 2147483646 w 275"/>
              <a:gd name="T37" fmla="*/ 2147483646 h 503"/>
              <a:gd name="T38" fmla="*/ 2147483646 w 275"/>
              <a:gd name="T39" fmla="*/ 2147483646 h 503"/>
              <a:gd name="T40" fmla="*/ 2147483646 w 275"/>
              <a:gd name="T41" fmla="*/ 2147483646 h 503"/>
              <a:gd name="T42" fmla="*/ 2147483646 w 275"/>
              <a:gd name="T43" fmla="*/ 2147483646 h 503"/>
              <a:gd name="T44" fmla="*/ 2147483646 w 275"/>
              <a:gd name="T45" fmla="*/ 2147483646 h 503"/>
              <a:gd name="T46" fmla="*/ 2147483646 w 275"/>
              <a:gd name="T47" fmla="*/ 2147483646 h 503"/>
              <a:gd name="T48" fmla="*/ 2147483646 w 275"/>
              <a:gd name="T49" fmla="*/ 2147483646 h 503"/>
              <a:gd name="T50" fmla="*/ 2147483646 w 275"/>
              <a:gd name="T51" fmla="*/ 2147483646 h 503"/>
              <a:gd name="T52" fmla="*/ 2147483646 w 275"/>
              <a:gd name="T53" fmla="*/ 2147483646 h 503"/>
              <a:gd name="T54" fmla="*/ 2147483646 w 275"/>
              <a:gd name="T55" fmla="*/ 2147483646 h 503"/>
              <a:gd name="T56" fmla="*/ 2147483646 w 275"/>
              <a:gd name="T57" fmla="*/ 2147483646 h 503"/>
              <a:gd name="T58" fmla="*/ 2147483646 w 275"/>
              <a:gd name="T59" fmla="*/ 2147483646 h 503"/>
              <a:gd name="T60" fmla="*/ 2147483646 w 275"/>
              <a:gd name="T61" fmla="*/ 2147483646 h 503"/>
              <a:gd name="T62" fmla="*/ 2147483646 w 275"/>
              <a:gd name="T63" fmla="*/ 2147483646 h 503"/>
              <a:gd name="T64" fmla="*/ 2147483646 w 275"/>
              <a:gd name="T65" fmla="*/ 2147483646 h 503"/>
              <a:gd name="T66" fmla="*/ 2147483646 w 275"/>
              <a:gd name="T67" fmla="*/ 2147483646 h 503"/>
              <a:gd name="T68" fmla="*/ 2147483646 w 275"/>
              <a:gd name="T69" fmla="*/ 2147483646 h 503"/>
              <a:gd name="T70" fmla="*/ 2147483646 w 275"/>
              <a:gd name="T71" fmla="*/ 2147483646 h 503"/>
              <a:gd name="T72" fmla="*/ 2147483646 w 275"/>
              <a:gd name="T73" fmla="*/ 2147483646 h 503"/>
              <a:gd name="T74" fmla="*/ 2147483646 w 275"/>
              <a:gd name="T75" fmla="*/ 2147483646 h 503"/>
              <a:gd name="T76" fmla="*/ 2147483646 w 275"/>
              <a:gd name="T77" fmla="*/ 2147483646 h 503"/>
              <a:gd name="T78" fmla="*/ 2147483646 w 275"/>
              <a:gd name="T79" fmla="*/ 2147483646 h 503"/>
              <a:gd name="T80" fmla="*/ 2147483646 w 275"/>
              <a:gd name="T81" fmla="*/ 2147483646 h 503"/>
              <a:gd name="T82" fmla="*/ 2147483646 w 275"/>
              <a:gd name="T83" fmla="*/ 2147483646 h 503"/>
              <a:gd name="T84" fmla="*/ 2147483646 w 275"/>
              <a:gd name="T85" fmla="*/ 2147483646 h 503"/>
              <a:gd name="T86" fmla="*/ 2147483646 w 275"/>
              <a:gd name="T87" fmla="*/ 0 h 503"/>
              <a:gd name="T88" fmla="*/ 2147483646 w 275"/>
              <a:gd name="T89" fmla="*/ 2147483646 h 503"/>
              <a:gd name="T90" fmla="*/ 0 w 275"/>
              <a:gd name="T91" fmla="*/ 2147483646 h 503"/>
              <a:gd name="T92" fmla="*/ 2147483646 w 275"/>
              <a:gd name="T93" fmla="*/ 2147483646 h 503"/>
              <a:gd name="T94" fmla="*/ 2147483646 w 275"/>
              <a:gd name="T95" fmla="*/ 2147483646 h 503"/>
              <a:gd name="T96" fmla="*/ 2147483646 w 275"/>
              <a:gd name="T97" fmla="*/ 2147483646 h 503"/>
              <a:gd name="T98" fmla="*/ 2147483646 w 275"/>
              <a:gd name="T99" fmla="*/ 2147483646 h 503"/>
              <a:gd name="T100" fmla="*/ 2147483646 w 275"/>
              <a:gd name="T101" fmla="*/ 2147483646 h 503"/>
              <a:gd name="T102" fmla="*/ 2147483646 w 275"/>
              <a:gd name="T103" fmla="*/ 2147483646 h 503"/>
              <a:gd name="T104" fmla="*/ 2147483646 w 275"/>
              <a:gd name="T105" fmla="*/ 2147483646 h 503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75"/>
              <a:gd name="T160" fmla="*/ 0 h 503"/>
              <a:gd name="T161" fmla="*/ 275 w 275"/>
              <a:gd name="T162" fmla="*/ 503 h 503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75" h="503">
                <a:moveTo>
                  <a:pt x="244" y="77"/>
                </a:moveTo>
                <a:cubicBezTo>
                  <a:pt x="244" y="70"/>
                  <a:pt x="240" y="66"/>
                  <a:pt x="236" y="64"/>
                </a:cubicBezTo>
                <a:cubicBezTo>
                  <a:pt x="233" y="62"/>
                  <a:pt x="230" y="61"/>
                  <a:pt x="230" y="61"/>
                </a:cubicBezTo>
                <a:cubicBezTo>
                  <a:pt x="229" y="61"/>
                  <a:pt x="229" y="61"/>
                  <a:pt x="229" y="61"/>
                </a:cubicBezTo>
                <a:cubicBezTo>
                  <a:pt x="228" y="61"/>
                  <a:pt x="178" y="57"/>
                  <a:pt x="137" y="57"/>
                </a:cubicBezTo>
                <a:cubicBezTo>
                  <a:pt x="97" y="57"/>
                  <a:pt x="46" y="61"/>
                  <a:pt x="46" y="61"/>
                </a:cubicBezTo>
                <a:cubicBezTo>
                  <a:pt x="45" y="61"/>
                  <a:pt x="45" y="61"/>
                  <a:pt x="45" y="61"/>
                </a:cubicBezTo>
                <a:cubicBezTo>
                  <a:pt x="44" y="61"/>
                  <a:pt x="41" y="62"/>
                  <a:pt x="38" y="64"/>
                </a:cubicBezTo>
                <a:cubicBezTo>
                  <a:pt x="35" y="66"/>
                  <a:pt x="30" y="70"/>
                  <a:pt x="30" y="77"/>
                </a:cubicBezTo>
                <a:cubicBezTo>
                  <a:pt x="30" y="84"/>
                  <a:pt x="30" y="389"/>
                  <a:pt x="30" y="400"/>
                </a:cubicBezTo>
                <a:cubicBezTo>
                  <a:pt x="30" y="409"/>
                  <a:pt x="35" y="415"/>
                  <a:pt x="40" y="417"/>
                </a:cubicBezTo>
                <a:cubicBezTo>
                  <a:pt x="45" y="420"/>
                  <a:pt x="48" y="420"/>
                  <a:pt x="49" y="420"/>
                </a:cubicBezTo>
                <a:cubicBezTo>
                  <a:pt x="49" y="420"/>
                  <a:pt x="90" y="421"/>
                  <a:pt x="137" y="421"/>
                </a:cubicBezTo>
                <a:cubicBezTo>
                  <a:pt x="184" y="421"/>
                  <a:pt x="225" y="420"/>
                  <a:pt x="225" y="420"/>
                </a:cubicBezTo>
                <a:cubicBezTo>
                  <a:pt x="226" y="420"/>
                  <a:pt x="230" y="420"/>
                  <a:pt x="234" y="417"/>
                </a:cubicBezTo>
                <a:cubicBezTo>
                  <a:pt x="239" y="415"/>
                  <a:pt x="245" y="409"/>
                  <a:pt x="244" y="400"/>
                </a:cubicBezTo>
                <a:cubicBezTo>
                  <a:pt x="244" y="389"/>
                  <a:pt x="244" y="84"/>
                  <a:pt x="244" y="77"/>
                </a:cubicBezTo>
                <a:close/>
                <a:moveTo>
                  <a:pt x="228" y="400"/>
                </a:moveTo>
                <a:cubicBezTo>
                  <a:pt x="228" y="403"/>
                  <a:pt x="228" y="402"/>
                  <a:pt x="227" y="403"/>
                </a:cubicBezTo>
                <a:cubicBezTo>
                  <a:pt x="226" y="403"/>
                  <a:pt x="226" y="404"/>
                  <a:pt x="225" y="404"/>
                </a:cubicBezTo>
                <a:cubicBezTo>
                  <a:pt x="225" y="404"/>
                  <a:pt x="224" y="404"/>
                  <a:pt x="224" y="404"/>
                </a:cubicBezTo>
                <a:cubicBezTo>
                  <a:pt x="223" y="404"/>
                  <a:pt x="183" y="405"/>
                  <a:pt x="137" y="405"/>
                </a:cubicBezTo>
                <a:cubicBezTo>
                  <a:pt x="92" y="405"/>
                  <a:pt x="52" y="404"/>
                  <a:pt x="50" y="404"/>
                </a:cubicBezTo>
                <a:cubicBezTo>
                  <a:pt x="49" y="404"/>
                  <a:pt x="48" y="403"/>
                  <a:pt x="47" y="403"/>
                </a:cubicBezTo>
                <a:cubicBezTo>
                  <a:pt x="46" y="402"/>
                  <a:pt x="46" y="402"/>
                  <a:pt x="46" y="400"/>
                </a:cubicBezTo>
                <a:cubicBezTo>
                  <a:pt x="46" y="389"/>
                  <a:pt x="46" y="91"/>
                  <a:pt x="46" y="78"/>
                </a:cubicBezTo>
                <a:cubicBezTo>
                  <a:pt x="46" y="78"/>
                  <a:pt x="47" y="77"/>
                  <a:pt x="47" y="77"/>
                </a:cubicBezTo>
                <a:cubicBezTo>
                  <a:pt x="47" y="77"/>
                  <a:pt x="48" y="77"/>
                  <a:pt x="48" y="77"/>
                </a:cubicBezTo>
                <a:cubicBezTo>
                  <a:pt x="54" y="76"/>
                  <a:pt x="100" y="73"/>
                  <a:pt x="137" y="73"/>
                </a:cubicBezTo>
                <a:cubicBezTo>
                  <a:pt x="157" y="73"/>
                  <a:pt x="179" y="74"/>
                  <a:pt x="197" y="75"/>
                </a:cubicBezTo>
                <a:cubicBezTo>
                  <a:pt x="212" y="76"/>
                  <a:pt x="223" y="77"/>
                  <a:pt x="226" y="77"/>
                </a:cubicBezTo>
                <a:cubicBezTo>
                  <a:pt x="227" y="77"/>
                  <a:pt x="228" y="77"/>
                  <a:pt x="228" y="78"/>
                </a:cubicBezTo>
                <a:cubicBezTo>
                  <a:pt x="228" y="78"/>
                  <a:pt x="228" y="78"/>
                  <a:pt x="228" y="78"/>
                </a:cubicBezTo>
                <a:cubicBezTo>
                  <a:pt x="228" y="91"/>
                  <a:pt x="228" y="389"/>
                  <a:pt x="228" y="400"/>
                </a:cubicBezTo>
                <a:close/>
                <a:moveTo>
                  <a:pt x="111" y="457"/>
                </a:moveTo>
                <a:cubicBezTo>
                  <a:pt x="106" y="457"/>
                  <a:pt x="103" y="461"/>
                  <a:pt x="103" y="465"/>
                </a:cubicBezTo>
                <a:cubicBezTo>
                  <a:pt x="103" y="470"/>
                  <a:pt x="106" y="473"/>
                  <a:pt x="111" y="473"/>
                </a:cubicBezTo>
                <a:cubicBezTo>
                  <a:pt x="164" y="473"/>
                  <a:pt x="164" y="473"/>
                  <a:pt x="164" y="473"/>
                </a:cubicBezTo>
                <a:cubicBezTo>
                  <a:pt x="168" y="473"/>
                  <a:pt x="172" y="470"/>
                  <a:pt x="172" y="465"/>
                </a:cubicBezTo>
                <a:cubicBezTo>
                  <a:pt x="172" y="461"/>
                  <a:pt x="168" y="457"/>
                  <a:pt x="164" y="457"/>
                </a:cubicBezTo>
                <a:lnTo>
                  <a:pt x="111" y="457"/>
                </a:lnTo>
                <a:close/>
                <a:moveTo>
                  <a:pt x="235" y="448"/>
                </a:moveTo>
                <a:cubicBezTo>
                  <a:pt x="189" y="455"/>
                  <a:pt x="189" y="455"/>
                  <a:pt x="189" y="455"/>
                </a:cubicBezTo>
                <a:cubicBezTo>
                  <a:pt x="184" y="456"/>
                  <a:pt x="181" y="460"/>
                  <a:pt x="182" y="465"/>
                </a:cubicBezTo>
                <a:cubicBezTo>
                  <a:pt x="183" y="468"/>
                  <a:pt x="186" y="471"/>
                  <a:pt x="190" y="471"/>
                </a:cubicBezTo>
                <a:cubicBezTo>
                  <a:pt x="190" y="471"/>
                  <a:pt x="191" y="471"/>
                  <a:pt x="191" y="471"/>
                </a:cubicBezTo>
                <a:cubicBezTo>
                  <a:pt x="238" y="463"/>
                  <a:pt x="238" y="463"/>
                  <a:pt x="238" y="463"/>
                </a:cubicBezTo>
                <a:cubicBezTo>
                  <a:pt x="242" y="463"/>
                  <a:pt x="245" y="459"/>
                  <a:pt x="244" y="454"/>
                </a:cubicBezTo>
                <a:cubicBezTo>
                  <a:pt x="244" y="450"/>
                  <a:pt x="239" y="447"/>
                  <a:pt x="235" y="448"/>
                </a:cubicBezTo>
                <a:close/>
                <a:moveTo>
                  <a:pt x="39" y="448"/>
                </a:moveTo>
                <a:cubicBezTo>
                  <a:pt x="35" y="447"/>
                  <a:pt x="31" y="450"/>
                  <a:pt x="30" y="454"/>
                </a:cubicBezTo>
                <a:cubicBezTo>
                  <a:pt x="29" y="459"/>
                  <a:pt x="32" y="463"/>
                  <a:pt x="37" y="463"/>
                </a:cubicBezTo>
                <a:cubicBezTo>
                  <a:pt x="83" y="471"/>
                  <a:pt x="83" y="471"/>
                  <a:pt x="83" y="471"/>
                </a:cubicBezTo>
                <a:cubicBezTo>
                  <a:pt x="84" y="471"/>
                  <a:pt x="84" y="471"/>
                  <a:pt x="84" y="471"/>
                </a:cubicBezTo>
                <a:cubicBezTo>
                  <a:pt x="88" y="471"/>
                  <a:pt x="92" y="468"/>
                  <a:pt x="92" y="465"/>
                </a:cubicBezTo>
                <a:cubicBezTo>
                  <a:pt x="93" y="460"/>
                  <a:pt x="90" y="456"/>
                  <a:pt x="86" y="455"/>
                </a:cubicBezTo>
                <a:lnTo>
                  <a:pt x="39" y="448"/>
                </a:lnTo>
                <a:close/>
                <a:moveTo>
                  <a:pt x="266" y="99"/>
                </a:moveTo>
                <a:cubicBezTo>
                  <a:pt x="262" y="99"/>
                  <a:pt x="258" y="102"/>
                  <a:pt x="258" y="107"/>
                </a:cubicBezTo>
                <a:cubicBezTo>
                  <a:pt x="258" y="234"/>
                  <a:pt x="258" y="467"/>
                  <a:pt x="258" y="477"/>
                </a:cubicBezTo>
                <a:cubicBezTo>
                  <a:pt x="258" y="482"/>
                  <a:pt x="257" y="482"/>
                  <a:pt x="255" y="483"/>
                </a:cubicBezTo>
                <a:cubicBezTo>
                  <a:pt x="254" y="484"/>
                  <a:pt x="253" y="484"/>
                  <a:pt x="252" y="484"/>
                </a:cubicBezTo>
                <a:cubicBezTo>
                  <a:pt x="251" y="485"/>
                  <a:pt x="251" y="485"/>
                  <a:pt x="251" y="485"/>
                </a:cubicBezTo>
                <a:cubicBezTo>
                  <a:pt x="251" y="485"/>
                  <a:pt x="251" y="485"/>
                  <a:pt x="251" y="485"/>
                </a:cubicBezTo>
                <a:cubicBezTo>
                  <a:pt x="249" y="485"/>
                  <a:pt x="197" y="487"/>
                  <a:pt x="137" y="486"/>
                </a:cubicBezTo>
                <a:cubicBezTo>
                  <a:pt x="77" y="487"/>
                  <a:pt x="25" y="485"/>
                  <a:pt x="23" y="485"/>
                </a:cubicBezTo>
                <a:cubicBezTo>
                  <a:pt x="23" y="485"/>
                  <a:pt x="20" y="484"/>
                  <a:pt x="19" y="483"/>
                </a:cubicBezTo>
                <a:cubicBezTo>
                  <a:pt x="17" y="482"/>
                  <a:pt x="16" y="481"/>
                  <a:pt x="16" y="477"/>
                </a:cubicBezTo>
                <a:cubicBezTo>
                  <a:pt x="16" y="463"/>
                  <a:pt x="16" y="34"/>
                  <a:pt x="16" y="25"/>
                </a:cubicBezTo>
                <a:cubicBezTo>
                  <a:pt x="16" y="25"/>
                  <a:pt x="16" y="24"/>
                  <a:pt x="18" y="23"/>
                </a:cubicBezTo>
                <a:cubicBezTo>
                  <a:pt x="18" y="23"/>
                  <a:pt x="19" y="22"/>
                  <a:pt x="20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24" y="21"/>
                  <a:pt x="39" y="20"/>
                  <a:pt x="59" y="19"/>
                </a:cubicBezTo>
                <a:cubicBezTo>
                  <a:pt x="68" y="19"/>
                  <a:pt x="78" y="18"/>
                  <a:pt x="88" y="18"/>
                </a:cubicBezTo>
                <a:cubicBezTo>
                  <a:pt x="96" y="33"/>
                  <a:pt x="115" y="43"/>
                  <a:pt x="137" y="43"/>
                </a:cubicBezTo>
                <a:cubicBezTo>
                  <a:pt x="159" y="43"/>
                  <a:pt x="178" y="33"/>
                  <a:pt x="186" y="18"/>
                </a:cubicBezTo>
                <a:cubicBezTo>
                  <a:pt x="220" y="19"/>
                  <a:pt x="249" y="21"/>
                  <a:pt x="254" y="22"/>
                </a:cubicBezTo>
                <a:cubicBezTo>
                  <a:pt x="255" y="22"/>
                  <a:pt x="256" y="23"/>
                  <a:pt x="257" y="23"/>
                </a:cubicBezTo>
                <a:cubicBezTo>
                  <a:pt x="258" y="24"/>
                  <a:pt x="258" y="24"/>
                  <a:pt x="258" y="25"/>
                </a:cubicBezTo>
                <a:cubicBezTo>
                  <a:pt x="258" y="27"/>
                  <a:pt x="258" y="43"/>
                  <a:pt x="258" y="69"/>
                </a:cubicBezTo>
                <a:cubicBezTo>
                  <a:pt x="258" y="73"/>
                  <a:pt x="262" y="77"/>
                  <a:pt x="266" y="77"/>
                </a:cubicBezTo>
                <a:cubicBezTo>
                  <a:pt x="271" y="77"/>
                  <a:pt x="274" y="73"/>
                  <a:pt x="274" y="69"/>
                </a:cubicBezTo>
                <a:cubicBezTo>
                  <a:pt x="274" y="69"/>
                  <a:pt x="274" y="69"/>
                  <a:pt x="274" y="69"/>
                </a:cubicBezTo>
                <a:cubicBezTo>
                  <a:pt x="274" y="43"/>
                  <a:pt x="274" y="27"/>
                  <a:pt x="274" y="25"/>
                </a:cubicBezTo>
                <a:cubicBezTo>
                  <a:pt x="274" y="17"/>
                  <a:pt x="269" y="12"/>
                  <a:pt x="265" y="9"/>
                </a:cubicBezTo>
                <a:cubicBezTo>
                  <a:pt x="261" y="7"/>
                  <a:pt x="257" y="6"/>
                  <a:pt x="257" y="6"/>
                </a:cubicBezTo>
                <a:cubicBezTo>
                  <a:pt x="256" y="6"/>
                  <a:pt x="256" y="6"/>
                  <a:pt x="256" y="6"/>
                </a:cubicBezTo>
                <a:cubicBezTo>
                  <a:pt x="256" y="6"/>
                  <a:pt x="190" y="0"/>
                  <a:pt x="137" y="0"/>
                </a:cubicBezTo>
                <a:cubicBezTo>
                  <a:pt x="84" y="0"/>
                  <a:pt x="19" y="6"/>
                  <a:pt x="18" y="6"/>
                </a:cubicBezTo>
                <a:cubicBezTo>
                  <a:pt x="17" y="6"/>
                  <a:pt x="17" y="6"/>
                  <a:pt x="17" y="6"/>
                </a:cubicBezTo>
                <a:cubicBezTo>
                  <a:pt x="17" y="6"/>
                  <a:pt x="13" y="7"/>
                  <a:pt x="9" y="9"/>
                </a:cubicBezTo>
                <a:cubicBezTo>
                  <a:pt x="5" y="12"/>
                  <a:pt x="0" y="17"/>
                  <a:pt x="0" y="25"/>
                </a:cubicBezTo>
                <a:cubicBezTo>
                  <a:pt x="0" y="34"/>
                  <a:pt x="0" y="463"/>
                  <a:pt x="0" y="477"/>
                </a:cubicBezTo>
                <a:cubicBezTo>
                  <a:pt x="0" y="488"/>
                  <a:pt x="6" y="495"/>
                  <a:pt x="12" y="498"/>
                </a:cubicBezTo>
                <a:cubicBezTo>
                  <a:pt x="17" y="500"/>
                  <a:pt x="22" y="501"/>
                  <a:pt x="23" y="501"/>
                </a:cubicBezTo>
                <a:cubicBezTo>
                  <a:pt x="23" y="501"/>
                  <a:pt x="76" y="502"/>
                  <a:pt x="137" y="503"/>
                </a:cubicBezTo>
                <a:cubicBezTo>
                  <a:pt x="198" y="502"/>
                  <a:pt x="251" y="501"/>
                  <a:pt x="251" y="501"/>
                </a:cubicBezTo>
                <a:cubicBezTo>
                  <a:pt x="252" y="501"/>
                  <a:pt x="257" y="500"/>
                  <a:pt x="262" y="498"/>
                </a:cubicBezTo>
                <a:cubicBezTo>
                  <a:pt x="268" y="495"/>
                  <a:pt x="275" y="488"/>
                  <a:pt x="274" y="477"/>
                </a:cubicBezTo>
                <a:cubicBezTo>
                  <a:pt x="274" y="467"/>
                  <a:pt x="274" y="234"/>
                  <a:pt x="274" y="107"/>
                </a:cubicBezTo>
                <a:cubicBezTo>
                  <a:pt x="274" y="102"/>
                  <a:pt x="271" y="99"/>
                  <a:pt x="266" y="99"/>
                </a:cubicBezTo>
                <a:close/>
                <a:moveTo>
                  <a:pt x="137" y="16"/>
                </a:moveTo>
                <a:cubicBezTo>
                  <a:pt x="147" y="16"/>
                  <a:pt x="157" y="17"/>
                  <a:pt x="167" y="17"/>
                </a:cubicBezTo>
                <a:cubicBezTo>
                  <a:pt x="160" y="22"/>
                  <a:pt x="150" y="27"/>
                  <a:pt x="137" y="27"/>
                </a:cubicBezTo>
                <a:cubicBezTo>
                  <a:pt x="124" y="27"/>
                  <a:pt x="114" y="22"/>
                  <a:pt x="107" y="17"/>
                </a:cubicBezTo>
                <a:cubicBezTo>
                  <a:pt x="117" y="17"/>
                  <a:pt x="128" y="16"/>
                  <a:pt x="137" y="1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67" name="Freeform 3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619125" y="2273300"/>
            <a:ext cx="711200" cy="520700"/>
          </a:xfrm>
          <a:custGeom>
            <a:avLst/>
            <a:gdLst>
              <a:gd name="T0" fmla="*/ 2147483646 w 418"/>
              <a:gd name="T1" fmla="*/ 2147483646 h 336"/>
              <a:gd name="T2" fmla="*/ 2147483646 w 418"/>
              <a:gd name="T3" fmla="*/ 2147483646 h 336"/>
              <a:gd name="T4" fmla="*/ 2147483646 w 418"/>
              <a:gd name="T5" fmla="*/ 2147483646 h 336"/>
              <a:gd name="T6" fmla="*/ 2147483646 w 418"/>
              <a:gd name="T7" fmla="*/ 2147483646 h 336"/>
              <a:gd name="T8" fmla="*/ 2147483646 w 418"/>
              <a:gd name="T9" fmla="*/ 2147483646 h 336"/>
              <a:gd name="T10" fmla="*/ 2147483646 w 418"/>
              <a:gd name="T11" fmla="*/ 2147483646 h 336"/>
              <a:gd name="T12" fmla="*/ 2147483646 w 418"/>
              <a:gd name="T13" fmla="*/ 2147483646 h 336"/>
              <a:gd name="T14" fmla="*/ 2147483646 w 418"/>
              <a:gd name="T15" fmla="*/ 2147483646 h 336"/>
              <a:gd name="T16" fmla="*/ 2147483646 w 418"/>
              <a:gd name="T17" fmla="*/ 2147483646 h 336"/>
              <a:gd name="T18" fmla="*/ 2147483646 w 418"/>
              <a:gd name="T19" fmla="*/ 2147483646 h 336"/>
              <a:gd name="T20" fmla="*/ 2147483646 w 418"/>
              <a:gd name="T21" fmla="*/ 2147483646 h 336"/>
              <a:gd name="T22" fmla="*/ 2147483646 w 418"/>
              <a:gd name="T23" fmla="*/ 2147483646 h 336"/>
              <a:gd name="T24" fmla="*/ 2147483646 w 418"/>
              <a:gd name="T25" fmla="*/ 2147483646 h 336"/>
              <a:gd name="T26" fmla="*/ 2147483646 w 418"/>
              <a:gd name="T27" fmla="*/ 2147483646 h 336"/>
              <a:gd name="T28" fmla="*/ 2147483646 w 418"/>
              <a:gd name="T29" fmla="*/ 2147483646 h 336"/>
              <a:gd name="T30" fmla="*/ 2147483646 w 418"/>
              <a:gd name="T31" fmla="*/ 2147483646 h 336"/>
              <a:gd name="T32" fmla="*/ 2147483646 w 418"/>
              <a:gd name="T33" fmla="*/ 2147483646 h 336"/>
              <a:gd name="T34" fmla="*/ 2147483646 w 418"/>
              <a:gd name="T35" fmla="*/ 2147483646 h 336"/>
              <a:gd name="T36" fmla="*/ 2147483646 w 418"/>
              <a:gd name="T37" fmla="*/ 2147483646 h 336"/>
              <a:gd name="T38" fmla="*/ 2147483646 w 418"/>
              <a:gd name="T39" fmla="*/ 2147483646 h 336"/>
              <a:gd name="T40" fmla="*/ 2147483646 w 418"/>
              <a:gd name="T41" fmla="*/ 2147483646 h 336"/>
              <a:gd name="T42" fmla="*/ 2147483646 w 418"/>
              <a:gd name="T43" fmla="*/ 2147483646 h 336"/>
              <a:gd name="T44" fmla="*/ 2147483646 w 418"/>
              <a:gd name="T45" fmla="*/ 2147483646 h 336"/>
              <a:gd name="T46" fmla="*/ 2147483646 w 418"/>
              <a:gd name="T47" fmla="*/ 2147483646 h 336"/>
              <a:gd name="T48" fmla="*/ 2147483646 w 418"/>
              <a:gd name="T49" fmla="*/ 2147483646 h 336"/>
              <a:gd name="T50" fmla="*/ 2147483646 w 418"/>
              <a:gd name="T51" fmla="*/ 2147483646 h 336"/>
              <a:gd name="T52" fmla="*/ 2147483646 w 418"/>
              <a:gd name="T53" fmla="*/ 2147483646 h 336"/>
              <a:gd name="T54" fmla="*/ 2147483646 w 418"/>
              <a:gd name="T55" fmla="*/ 2147483646 h 336"/>
              <a:gd name="T56" fmla="*/ 2147483646 w 418"/>
              <a:gd name="T57" fmla="*/ 2147483646 h 336"/>
              <a:gd name="T58" fmla="*/ 2147483646 w 418"/>
              <a:gd name="T59" fmla="*/ 2147483646 h 336"/>
              <a:gd name="T60" fmla="*/ 2147483646 w 418"/>
              <a:gd name="T61" fmla="*/ 2147483646 h 336"/>
              <a:gd name="T62" fmla="*/ 2147483646 w 418"/>
              <a:gd name="T63" fmla="*/ 2147483646 h 336"/>
              <a:gd name="T64" fmla="*/ 2147483646 w 418"/>
              <a:gd name="T65" fmla="*/ 2147483646 h 336"/>
              <a:gd name="T66" fmla="*/ 2147483646 w 418"/>
              <a:gd name="T67" fmla="*/ 2147483646 h 336"/>
              <a:gd name="T68" fmla="*/ 2147483646 w 418"/>
              <a:gd name="T69" fmla="*/ 2147483646 h 336"/>
              <a:gd name="T70" fmla="*/ 2147483646 w 418"/>
              <a:gd name="T71" fmla="*/ 2147483646 h 336"/>
              <a:gd name="T72" fmla="*/ 2147483646 w 418"/>
              <a:gd name="T73" fmla="*/ 2147483646 h 336"/>
              <a:gd name="T74" fmla="*/ 2147483646 w 418"/>
              <a:gd name="T75" fmla="*/ 2147483646 h 336"/>
              <a:gd name="T76" fmla="*/ 2147483646 w 418"/>
              <a:gd name="T77" fmla="*/ 2147483646 h 336"/>
              <a:gd name="T78" fmla="*/ 2147483646 w 418"/>
              <a:gd name="T79" fmla="*/ 2147483646 h 336"/>
              <a:gd name="T80" fmla="*/ 2147483646 w 418"/>
              <a:gd name="T81" fmla="*/ 2147483646 h 336"/>
              <a:gd name="T82" fmla="*/ 2147483646 w 418"/>
              <a:gd name="T83" fmla="*/ 2147483646 h 336"/>
              <a:gd name="T84" fmla="*/ 2147483646 w 418"/>
              <a:gd name="T85" fmla="*/ 2147483646 h 336"/>
              <a:gd name="T86" fmla="*/ 2147483646 w 418"/>
              <a:gd name="T87" fmla="*/ 2147483646 h 336"/>
              <a:gd name="T88" fmla="*/ 2147483646 w 418"/>
              <a:gd name="T89" fmla="*/ 0 h 336"/>
              <a:gd name="T90" fmla="*/ 2147483646 w 418"/>
              <a:gd name="T91" fmla="*/ 0 h 336"/>
              <a:gd name="T92" fmla="*/ 2147483646 w 418"/>
              <a:gd name="T93" fmla="*/ 2147483646 h 336"/>
              <a:gd name="T94" fmla="*/ 2147483646 w 418"/>
              <a:gd name="T95" fmla="*/ 2147483646 h 336"/>
              <a:gd name="T96" fmla="*/ 2147483646 w 418"/>
              <a:gd name="T97" fmla="*/ 2147483646 h 336"/>
              <a:gd name="T98" fmla="*/ 0 w 418"/>
              <a:gd name="T99" fmla="*/ 2147483646 h 336"/>
              <a:gd name="T100" fmla="*/ 0 w 418"/>
              <a:gd name="T101" fmla="*/ 2147483646 h 336"/>
              <a:gd name="T102" fmla="*/ 2147483646 w 418"/>
              <a:gd name="T103" fmla="*/ 2147483646 h 336"/>
              <a:gd name="T104" fmla="*/ 2147483646 w 418"/>
              <a:gd name="T105" fmla="*/ 2147483646 h 336"/>
              <a:gd name="T106" fmla="*/ 2147483646 w 418"/>
              <a:gd name="T107" fmla="*/ 2147483646 h 336"/>
              <a:gd name="T108" fmla="*/ 2147483646 w 418"/>
              <a:gd name="T109" fmla="*/ 2147483646 h 336"/>
              <a:gd name="T110" fmla="*/ 2147483646 w 418"/>
              <a:gd name="T111" fmla="*/ 2147483646 h 336"/>
              <a:gd name="T112" fmla="*/ 2147483646 w 418"/>
              <a:gd name="T113" fmla="*/ 2147483646 h 336"/>
              <a:gd name="T114" fmla="*/ 2147483646 w 418"/>
              <a:gd name="T115" fmla="*/ 2147483646 h 336"/>
              <a:gd name="T116" fmla="*/ 2147483646 w 418"/>
              <a:gd name="T117" fmla="*/ 2147483646 h 336"/>
              <a:gd name="T118" fmla="*/ 2147483646 w 418"/>
              <a:gd name="T119" fmla="*/ 2147483646 h 336"/>
              <a:gd name="T120" fmla="*/ 2147483646 w 418"/>
              <a:gd name="T121" fmla="*/ 2147483646 h 336"/>
              <a:gd name="T122" fmla="*/ 2147483646 w 418"/>
              <a:gd name="T123" fmla="*/ 2147483646 h 336"/>
              <a:gd name="T124" fmla="*/ 2147483646 w 418"/>
              <a:gd name="T125" fmla="*/ 2147483646 h 3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18"/>
              <a:gd name="T190" fmla="*/ 0 h 336"/>
              <a:gd name="T191" fmla="*/ 418 w 418"/>
              <a:gd name="T192" fmla="*/ 336 h 3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18" h="336">
                <a:moveTo>
                  <a:pt x="103" y="187"/>
                </a:moveTo>
                <a:cubicBezTo>
                  <a:pt x="103" y="246"/>
                  <a:pt x="150" y="293"/>
                  <a:pt x="209" y="293"/>
                </a:cubicBezTo>
                <a:cubicBezTo>
                  <a:pt x="267" y="293"/>
                  <a:pt x="315" y="246"/>
                  <a:pt x="315" y="187"/>
                </a:cubicBezTo>
                <a:cubicBezTo>
                  <a:pt x="315" y="129"/>
                  <a:pt x="267" y="82"/>
                  <a:pt x="209" y="82"/>
                </a:cubicBezTo>
                <a:cubicBezTo>
                  <a:pt x="150" y="82"/>
                  <a:pt x="103" y="129"/>
                  <a:pt x="103" y="187"/>
                </a:cubicBezTo>
                <a:close/>
                <a:moveTo>
                  <a:pt x="235" y="130"/>
                </a:moveTo>
                <a:cubicBezTo>
                  <a:pt x="235" y="161"/>
                  <a:pt x="235" y="161"/>
                  <a:pt x="235" y="161"/>
                </a:cubicBezTo>
                <a:cubicBezTo>
                  <a:pt x="266" y="161"/>
                  <a:pt x="266" y="161"/>
                  <a:pt x="266" y="161"/>
                </a:cubicBezTo>
                <a:cubicBezTo>
                  <a:pt x="275" y="161"/>
                  <a:pt x="282" y="168"/>
                  <a:pt x="282" y="177"/>
                </a:cubicBezTo>
                <a:cubicBezTo>
                  <a:pt x="282" y="198"/>
                  <a:pt x="282" y="198"/>
                  <a:pt x="282" y="198"/>
                </a:cubicBezTo>
                <a:cubicBezTo>
                  <a:pt x="282" y="207"/>
                  <a:pt x="275" y="214"/>
                  <a:pt x="266" y="214"/>
                </a:cubicBezTo>
                <a:cubicBezTo>
                  <a:pt x="235" y="214"/>
                  <a:pt x="235" y="214"/>
                  <a:pt x="235" y="214"/>
                </a:cubicBezTo>
                <a:cubicBezTo>
                  <a:pt x="235" y="245"/>
                  <a:pt x="235" y="245"/>
                  <a:pt x="235" y="245"/>
                </a:cubicBezTo>
                <a:cubicBezTo>
                  <a:pt x="235" y="254"/>
                  <a:pt x="228" y="261"/>
                  <a:pt x="219" y="261"/>
                </a:cubicBezTo>
                <a:cubicBezTo>
                  <a:pt x="198" y="261"/>
                  <a:pt x="198" y="261"/>
                  <a:pt x="198" y="261"/>
                </a:cubicBezTo>
                <a:cubicBezTo>
                  <a:pt x="189" y="261"/>
                  <a:pt x="182" y="254"/>
                  <a:pt x="182" y="245"/>
                </a:cubicBezTo>
                <a:cubicBezTo>
                  <a:pt x="182" y="214"/>
                  <a:pt x="182" y="214"/>
                  <a:pt x="182" y="214"/>
                </a:cubicBezTo>
                <a:cubicBezTo>
                  <a:pt x="152" y="214"/>
                  <a:pt x="152" y="214"/>
                  <a:pt x="152" y="214"/>
                </a:cubicBezTo>
                <a:cubicBezTo>
                  <a:pt x="143" y="214"/>
                  <a:pt x="136" y="207"/>
                  <a:pt x="136" y="198"/>
                </a:cubicBezTo>
                <a:cubicBezTo>
                  <a:pt x="136" y="177"/>
                  <a:pt x="136" y="177"/>
                  <a:pt x="136" y="177"/>
                </a:cubicBezTo>
                <a:cubicBezTo>
                  <a:pt x="136" y="168"/>
                  <a:pt x="143" y="161"/>
                  <a:pt x="152" y="161"/>
                </a:cubicBezTo>
                <a:cubicBezTo>
                  <a:pt x="182" y="161"/>
                  <a:pt x="182" y="161"/>
                  <a:pt x="182" y="161"/>
                </a:cubicBezTo>
                <a:cubicBezTo>
                  <a:pt x="182" y="130"/>
                  <a:pt x="182" y="130"/>
                  <a:pt x="182" y="130"/>
                </a:cubicBezTo>
                <a:cubicBezTo>
                  <a:pt x="182" y="121"/>
                  <a:pt x="189" y="114"/>
                  <a:pt x="198" y="114"/>
                </a:cubicBezTo>
                <a:cubicBezTo>
                  <a:pt x="219" y="114"/>
                  <a:pt x="219" y="114"/>
                  <a:pt x="219" y="114"/>
                </a:cubicBezTo>
                <a:cubicBezTo>
                  <a:pt x="228" y="114"/>
                  <a:pt x="235" y="121"/>
                  <a:pt x="235" y="130"/>
                </a:cubicBezTo>
                <a:close/>
                <a:moveTo>
                  <a:pt x="410" y="102"/>
                </a:moveTo>
                <a:cubicBezTo>
                  <a:pt x="405" y="102"/>
                  <a:pt x="402" y="106"/>
                  <a:pt x="402" y="110"/>
                </a:cubicBezTo>
                <a:cubicBezTo>
                  <a:pt x="402" y="110"/>
                  <a:pt x="402" y="110"/>
                  <a:pt x="402" y="110"/>
                </a:cubicBezTo>
                <a:cubicBezTo>
                  <a:pt x="402" y="311"/>
                  <a:pt x="402" y="311"/>
                  <a:pt x="402" y="311"/>
                </a:cubicBezTo>
                <a:cubicBezTo>
                  <a:pt x="402" y="316"/>
                  <a:pt x="397" y="320"/>
                  <a:pt x="392" y="320"/>
                </a:cubicBezTo>
                <a:cubicBezTo>
                  <a:pt x="25" y="320"/>
                  <a:pt x="25" y="320"/>
                  <a:pt x="25" y="320"/>
                </a:cubicBezTo>
                <a:cubicBezTo>
                  <a:pt x="20" y="320"/>
                  <a:pt x="16" y="316"/>
                  <a:pt x="16" y="311"/>
                </a:cubicBezTo>
                <a:cubicBezTo>
                  <a:pt x="16" y="64"/>
                  <a:pt x="16" y="64"/>
                  <a:pt x="16" y="64"/>
                </a:cubicBezTo>
                <a:cubicBezTo>
                  <a:pt x="16" y="59"/>
                  <a:pt x="20" y="55"/>
                  <a:pt x="25" y="55"/>
                </a:cubicBezTo>
                <a:cubicBezTo>
                  <a:pt x="392" y="55"/>
                  <a:pt x="392" y="55"/>
                  <a:pt x="392" y="55"/>
                </a:cubicBezTo>
                <a:cubicBezTo>
                  <a:pt x="397" y="55"/>
                  <a:pt x="402" y="59"/>
                  <a:pt x="402" y="64"/>
                </a:cubicBezTo>
                <a:cubicBezTo>
                  <a:pt x="402" y="78"/>
                  <a:pt x="402" y="78"/>
                  <a:pt x="402" y="78"/>
                </a:cubicBezTo>
                <a:cubicBezTo>
                  <a:pt x="402" y="82"/>
                  <a:pt x="405" y="86"/>
                  <a:pt x="410" y="86"/>
                </a:cubicBezTo>
                <a:cubicBezTo>
                  <a:pt x="414" y="86"/>
                  <a:pt x="418" y="82"/>
                  <a:pt x="418" y="78"/>
                </a:cubicBezTo>
                <a:cubicBezTo>
                  <a:pt x="418" y="64"/>
                  <a:pt x="418" y="64"/>
                  <a:pt x="418" y="64"/>
                </a:cubicBezTo>
                <a:cubicBezTo>
                  <a:pt x="418" y="50"/>
                  <a:pt x="406" y="39"/>
                  <a:pt x="392" y="39"/>
                </a:cubicBezTo>
                <a:cubicBezTo>
                  <a:pt x="286" y="39"/>
                  <a:pt x="286" y="39"/>
                  <a:pt x="286" y="39"/>
                </a:cubicBezTo>
                <a:cubicBezTo>
                  <a:pt x="286" y="24"/>
                  <a:pt x="286" y="24"/>
                  <a:pt x="286" y="24"/>
                </a:cubicBezTo>
                <a:cubicBezTo>
                  <a:pt x="286" y="11"/>
                  <a:pt x="275" y="0"/>
                  <a:pt x="262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43" y="0"/>
                  <a:pt x="132" y="11"/>
                  <a:pt x="132" y="24"/>
                </a:cubicBezTo>
                <a:cubicBezTo>
                  <a:pt x="132" y="39"/>
                  <a:pt x="132" y="39"/>
                  <a:pt x="132" y="39"/>
                </a:cubicBezTo>
                <a:cubicBezTo>
                  <a:pt x="25" y="39"/>
                  <a:pt x="25" y="39"/>
                  <a:pt x="25" y="39"/>
                </a:cubicBezTo>
                <a:cubicBezTo>
                  <a:pt x="11" y="39"/>
                  <a:pt x="0" y="50"/>
                  <a:pt x="0" y="64"/>
                </a:cubicBezTo>
                <a:cubicBezTo>
                  <a:pt x="0" y="311"/>
                  <a:pt x="0" y="311"/>
                  <a:pt x="0" y="311"/>
                </a:cubicBezTo>
                <a:cubicBezTo>
                  <a:pt x="0" y="325"/>
                  <a:pt x="11" y="336"/>
                  <a:pt x="25" y="336"/>
                </a:cubicBezTo>
                <a:cubicBezTo>
                  <a:pt x="392" y="336"/>
                  <a:pt x="392" y="336"/>
                  <a:pt x="392" y="336"/>
                </a:cubicBezTo>
                <a:cubicBezTo>
                  <a:pt x="406" y="336"/>
                  <a:pt x="418" y="325"/>
                  <a:pt x="418" y="311"/>
                </a:cubicBezTo>
                <a:cubicBezTo>
                  <a:pt x="418" y="110"/>
                  <a:pt x="418" y="110"/>
                  <a:pt x="418" y="110"/>
                </a:cubicBezTo>
                <a:cubicBezTo>
                  <a:pt x="418" y="106"/>
                  <a:pt x="414" y="102"/>
                  <a:pt x="410" y="102"/>
                </a:cubicBezTo>
                <a:close/>
                <a:moveTo>
                  <a:pt x="156" y="16"/>
                </a:moveTo>
                <a:cubicBezTo>
                  <a:pt x="262" y="16"/>
                  <a:pt x="262" y="16"/>
                  <a:pt x="262" y="16"/>
                </a:cubicBezTo>
                <a:cubicBezTo>
                  <a:pt x="266" y="16"/>
                  <a:pt x="270" y="19"/>
                  <a:pt x="270" y="24"/>
                </a:cubicBezTo>
                <a:cubicBezTo>
                  <a:pt x="270" y="39"/>
                  <a:pt x="270" y="39"/>
                  <a:pt x="270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8" y="24"/>
                  <a:pt x="148" y="24"/>
                  <a:pt x="148" y="24"/>
                </a:cubicBezTo>
                <a:cubicBezTo>
                  <a:pt x="148" y="19"/>
                  <a:pt x="151" y="16"/>
                  <a:pt x="156" y="1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68" name="Freeform 3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76275" y="3738563"/>
            <a:ext cx="619125" cy="579437"/>
          </a:xfrm>
          <a:custGeom>
            <a:avLst/>
            <a:gdLst>
              <a:gd name="T0" fmla="*/ 2147483646 w 395"/>
              <a:gd name="T1" fmla="*/ 2147483646 h 395"/>
              <a:gd name="T2" fmla="*/ 2147483646 w 395"/>
              <a:gd name="T3" fmla="*/ 2147483646 h 395"/>
              <a:gd name="T4" fmla="*/ 2147483646 w 395"/>
              <a:gd name="T5" fmla="*/ 2147483646 h 395"/>
              <a:gd name="T6" fmla="*/ 2147483646 w 395"/>
              <a:gd name="T7" fmla="*/ 2147483646 h 395"/>
              <a:gd name="T8" fmla="*/ 2147483646 w 395"/>
              <a:gd name="T9" fmla="*/ 0 h 395"/>
              <a:gd name="T10" fmla="*/ 2147483646 w 395"/>
              <a:gd name="T11" fmla="*/ 2147483646 h 395"/>
              <a:gd name="T12" fmla="*/ 2147483646 w 395"/>
              <a:gd name="T13" fmla="*/ 2147483646 h 395"/>
              <a:gd name="T14" fmla="*/ 2147483646 w 395"/>
              <a:gd name="T15" fmla="*/ 2147483646 h 395"/>
              <a:gd name="T16" fmla="*/ 2147483646 w 395"/>
              <a:gd name="T17" fmla="*/ 2147483646 h 395"/>
              <a:gd name="T18" fmla="*/ 2147483646 w 395"/>
              <a:gd name="T19" fmla="*/ 2147483646 h 395"/>
              <a:gd name="T20" fmla="*/ 2147483646 w 395"/>
              <a:gd name="T21" fmla="*/ 2147483646 h 395"/>
              <a:gd name="T22" fmla="*/ 2147483646 w 395"/>
              <a:gd name="T23" fmla="*/ 2147483646 h 395"/>
              <a:gd name="T24" fmla="*/ 2147483646 w 395"/>
              <a:gd name="T25" fmla="*/ 2147483646 h 395"/>
              <a:gd name="T26" fmla="*/ 2147483646 w 395"/>
              <a:gd name="T27" fmla="*/ 2147483646 h 395"/>
              <a:gd name="T28" fmla="*/ 2147483646 w 395"/>
              <a:gd name="T29" fmla="*/ 2147483646 h 395"/>
              <a:gd name="T30" fmla="*/ 2147483646 w 395"/>
              <a:gd name="T31" fmla="*/ 2147483646 h 395"/>
              <a:gd name="T32" fmla="*/ 2147483646 w 395"/>
              <a:gd name="T33" fmla="*/ 2147483646 h 395"/>
              <a:gd name="T34" fmla="*/ 2147483646 w 395"/>
              <a:gd name="T35" fmla="*/ 2147483646 h 395"/>
              <a:gd name="T36" fmla="*/ 2147483646 w 395"/>
              <a:gd name="T37" fmla="*/ 2147483646 h 395"/>
              <a:gd name="T38" fmla="*/ 2147483646 w 395"/>
              <a:gd name="T39" fmla="*/ 2147483646 h 395"/>
              <a:gd name="T40" fmla="*/ 2147483646 w 395"/>
              <a:gd name="T41" fmla="*/ 2147483646 h 395"/>
              <a:gd name="T42" fmla="*/ 2147483646 w 395"/>
              <a:gd name="T43" fmla="*/ 2147483646 h 395"/>
              <a:gd name="T44" fmla="*/ 2147483646 w 395"/>
              <a:gd name="T45" fmla="*/ 2147483646 h 395"/>
              <a:gd name="T46" fmla="*/ 2147483646 w 395"/>
              <a:gd name="T47" fmla="*/ 2147483646 h 395"/>
              <a:gd name="T48" fmla="*/ 2147483646 w 395"/>
              <a:gd name="T49" fmla="*/ 2147483646 h 395"/>
              <a:gd name="T50" fmla="*/ 2147483646 w 395"/>
              <a:gd name="T51" fmla="*/ 2147483646 h 395"/>
              <a:gd name="T52" fmla="*/ 2147483646 w 395"/>
              <a:gd name="T53" fmla="*/ 2147483646 h 395"/>
              <a:gd name="T54" fmla="*/ 2147483646 w 395"/>
              <a:gd name="T55" fmla="*/ 2147483646 h 395"/>
              <a:gd name="T56" fmla="*/ 2147483646 w 395"/>
              <a:gd name="T57" fmla="*/ 2147483646 h 395"/>
              <a:gd name="T58" fmla="*/ 2147483646 w 395"/>
              <a:gd name="T59" fmla="*/ 2147483646 h 395"/>
              <a:gd name="T60" fmla="*/ 2147483646 w 395"/>
              <a:gd name="T61" fmla="*/ 2147483646 h 395"/>
              <a:gd name="T62" fmla="*/ 2147483646 w 395"/>
              <a:gd name="T63" fmla="*/ 2147483646 h 395"/>
              <a:gd name="T64" fmla="*/ 2147483646 w 395"/>
              <a:gd name="T65" fmla="*/ 2147483646 h 395"/>
              <a:gd name="T66" fmla="*/ 2147483646 w 395"/>
              <a:gd name="T67" fmla="*/ 2147483646 h 395"/>
              <a:gd name="T68" fmla="*/ 2147483646 w 395"/>
              <a:gd name="T69" fmla="*/ 2147483646 h 395"/>
              <a:gd name="T70" fmla="*/ 2147483646 w 395"/>
              <a:gd name="T71" fmla="*/ 2147483646 h 395"/>
              <a:gd name="T72" fmla="*/ 2147483646 w 395"/>
              <a:gd name="T73" fmla="*/ 2147483646 h 395"/>
              <a:gd name="T74" fmla="*/ 2147483646 w 395"/>
              <a:gd name="T75" fmla="*/ 2147483646 h 395"/>
              <a:gd name="T76" fmla="*/ 2147483646 w 395"/>
              <a:gd name="T77" fmla="*/ 2147483646 h 395"/>
              <a:gd name="T78" fmla="*/ 2147483646 w 395"/>
              <a:gd name="T79" fmla="*/ 2147483646 h 395"/>
              <a:gd name="T80" fmla="*/ 2147483646 w 395"/>
              <a:gd name="T81" fmla="*/ 2147483646 h 395"/>
              <a:gd name="T82" fmla="*/ 2147483646 w 395"/>
              <a:gd name="T83" fmla="*/ 2147483646 h 395"/>
              <a:gd name="T84" fmla="*/ 2147483646 w 395"/>
              <a:gd name="T85" fmla="*/ 2147483646 h 395"/>
              <a:gd name="T86" fmla="*/ 2147483646 w 395"/>
              <a:gd name="T87" fmla="*/ 2147483646 h 395"/>
              <a:gd name="T88" fmla="*/ 2147483646 w 395"/>
              <a:gd name="T89" fmla="*/ 2147483646 h 395"/>
              <a:gd name="T90" fmla="*/ 2147483646 w 395"/>
              <a:gd name="T91" fmla="*/ 2147483646 h 395"/>
              <a:gd name="T92" fmla="*/ 2147483646 w 395"/>
              <a:gd name="T93" fmla="*/ 2147483646 h 395"/>
              <a:gd name="T94" fmla="*/ 2147483646 w 395"/>
              <a:gd name="T95" fmla="*/ 2147483646 h 395"/>
              <a:gd name="T96" fmla="*/ 2147483646 w 395"/>
              <a:gd name="T97" fmla="*/ 2147483646 h 395"/>
              <a:gd name="T98" fmla="*/ 2147483646 w 395"/>
              <a:gd name="T99" fmla="*/ 2147483646 h 395"/>
              <a:gd name="T100" fmla="*/ 2147483646 w 395"/>
              <a:gd name="T101" fmla="*/ 2147483646 h 395"/>
              <a:gd name="T102" fmla="*/ 2147483646 w 395"/>
              <a:gd name="T103" fmla="*/ 2147483646 h 395"/>
              <a:gd name="T104" fmla="*/ 2147483646 w 395"/>
              <a:gd name="T105" fmla="*/ 2147483646 h 395"/>
              <a:gd name="T106" fmla="*/ 2147483646 w 395"/>
              <a:gd name="T107" fmla="*/ 2147483646 h 395"/>
              <a:gd name="T108" fmla="*/ 2147483646 w 395"/>
              <a:gd name="T109" fmla="*/ 2147483646 h 395"/>
              <a:gd name="T110" fmla="*/ 2147483646 w 395"/>
              <a:gd name="T111" fmla="*/ 2147483646 h 395"/>
              <a:gd name="T112" fmla="*/ 2147483646 w 395"/>
              <a:gd name="T113" fmla="*/ 2147483646 h 395"/>
              <a:gd name="T114" fmla="*/ 2147483646 w 395"/>
              <a:gd name="T115" fmla="*/ 2147483646 h 395"/>
              <a:gd name="T116" fmla="*/ 2147483646 w 395"/>
              <a:gd name="T117" fmla="*/ 2147483646 h 39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95"/>
              <a:gd name="T178" fmla="*/ 0 h 395"/>
              <a:gd name="T179" fmla="*/ 395 w 395"/>
              <a:gd name="T180" fmla="*/ 395 h 39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95" h="395">
                <a:moveTo>
                  <a:pt x="348" y="70"/>
                </a:moveTo>
                <a:cubicBezTo>
                  <a:pt x="346" y="67"/>
                  <a:pt x="341" y="66"/>
                  <a:pt x="337" y="69"/>
                </a:cubicBezTo>
                <a:cubicBezTo>
                  <a:pt x="334" y="72"/>
                  <a:pt x="333" y="77"/>
                  <a:pt x="336" y="80"/>
                </a:cubicBezTo>
                <a:cubicBezTo>
                  <a:pt x="363" y="112"/>
                  <a:pt x="379" y="153"/>
                  <a:pt x="379" y="197"/>
                </a:cubicBezTo>
                <a:cubicBezTo>
                  <a:pt x="379" y="247"/>
                  <a:pt x="359" y="293"/>
                  <a:pt x="326" y="325"/>
                </a:cubicBezTo>
                <a:cubicBezTo>
                  <a:pt x="293" y="358"/>
                  <a:pt x="248" y="379"/>
                  <a:pt x="198" y="379"/>
                </a:cubicBezTo>
                <a:cubicBezTo>
                  <a:pt x="148" y="379"/>
                  <a:pt x="102" y="358"/>
                  <a:pt x="69" y="325"/>
                </a:cubicBezTo>
                <a:cubicBezTo>
                  <a:pt x="37" y="293"/>
                  <a:pt x="16" y="247"/>
                  <a:pt x="16" y="197"/>
                </a:cubicBezTo>
                <a:cubicBezTo>
                  <a:pt x="16" y="147"/>
                  <a:pt x="37" y="102"/>
                  <a:pt x="69" y="69"/>
                </a:cubicBezTo>
                <a:cubicBezTo>
                  <a:pt x="102" y="36"/>
                  <a:pt x="148" y="16"/>
                  <a:pt x="198" y="16"/>
                </a:cubicBezTo>
                <a:cubicBezTo>
                  <a:pt x="242" y="16"/>
                  <a:pt x="283" y="32"/>
                  <a:pt x="315" y="59"/>
                </a:cubicBezTo>
                <a:cubicBezTo>
                  <a:pt x="318" y="62"/>
                  <a:pt x="323" y="61"/>
                  <a:pt x="326" y="58"/>
                </a:cubicBezTo>
                <a:cubicBezTo>
                  <a:pt x="329" y="54"/>
                  <a:pt x="328" y="49"/>
                  <a:pt x="325" y="46"/>
                </a:cubicBezTo>
                <a:cubicBezTo>
                  <a:pt x="325" y="46"/>
                  <a:pt x="325" y="46"/>
                  <a:pt x="325" y="46"/>
                </a:cubicBezTo>
                <a:cubicBezTo>
                  <a:pt x="291" y="17"/>
                  <a:pt x="246" y="0"/>
                  <a:pt x="198" y="0"/>
                </a:cubicBezTo>
                <a:cubicBezTo>
                  <a:pt x="89" y="0"/>
                  <a:pt x="0" y="88"/>
                  <a:pt x="0" y="197"/>
                </a:cubicBezTo>
                <a:cubicBezTo>
                  <a:pt x="0" y="306"/>
                  <a:pt x="89" y="395"/>
                  <a:pt x="198" y="395"/>
                </a:cubicBezTo>
                <a:cubicBezTo>
                  <a:pt x="307" y="395"/>
                  <a:pt x="395" y="306"/>
                  <a:pt x="395" y="197"/>
                </a:cubicBezTo>
                <a:cubicBezTo>
                  <a:pt x="395" y="149"/>
                  <a:pt x="378" y="104"/>
                  <a:pt x="348" y="70"/>
                </a:cubicBezTo>
                <a:close/>
                <a:moveTo>
                  <a:pt x="75" y="300"/>
                </a:moveTo>
                <a:cubicBezTo>
                  <a:pt x="320" y="300"/>
                  <a:pt x="320" y="300"/>
                  <a:pt x="320" y="300"/>
                </a:cubicBezTo>
                <a:cubicBezTo>
                  <a:pt x="324" y="300"/>
                  <a:pt x="328" y="296"/>
                  <a:pt x="328" y="292"/>
                </a:cubicBezTo>
                <a:cubicBezTo>
                  <a:pt x="328" y="287"/>
                  <a:pt x="324" y="284"/>
                  <a:pt x="320" y="284"/>
                </a:cubicBezTo>
                <a:cubicBezTo>
                  <a:pt x="75" y="284"/>
                  <a:pt x="75" y="284"/>
                  <a:pt x="75" y="284"/>
                </a:cubicBezTo>
                <a:cubicBezTo>
                  <a:pt x="71" y="284"/>
                  <a:pt x="67" y="287"/>
                  <a:pt x="67" y="292"/>
                </a:cubicBezTo>
                <a:cubicBezTo>
                  <a:pt x="67" y="296"/>
                  <a:pt x="71" y="300"/>
                  <a:pt x="75" y="300"/>
                </a:cubicBezTo>
                <a:close/>
                <a:moveTo>
                  <a:pt x="328" y="103"/>
                </a:moveTo>
                <a:cubicBezTo>
                  <a:pt x="328" y="98"/>
                  <a:pt x="324" y="95"/>
                  <a:pt x="320" y="95"/>
                </a:cubicBezTo>
                <a:cubicBezTo>
                  <a:pt x="75" y="95"/>
                  <a:pt x="75" y="95"/>
                  <a:pt x="75" y="95"/>
                </a:cubicBezTo>
                <a:cubicBezTo>
                  <a:pt x="71" y="95"/>
                  <a:pt x="67" y="98"/>
                  <a:pt x="67" y="103"/>
                </a:cubicBezTo>
                <a:cubicBezTo>
                  <a:pt x="67" y="107"/>
                  <a:pt x="71" y="111"/>
                  <a:pt x="75" y="111"/>
                </a:cubicBezTo>
                <a:cubicBezTo>
                  <a:pt x="320" y="111"/>
                  <a:pt x="320" y="111"/>
                  <a:pt x="320" y="111"/>
                </a:cubicBezTo>
                <a:cubicBezTo>
                  <a:pt x="324" y="111"/>
                  <a:pt x="328" y="107"/>
                  <a:pt x="328" y="103"/>
                </a:cubicBezTo>
                <a:close/>
                <a:moveTo>
                  <a:pt x="359" y="235"/>
                </a:moveTo>
                <a:cubicBezTo>
                  <a:pt x="359" y="159"/>
                  <a:pt x="359" y="159"/>
                  <a:pt x="359" y="159"/>
                </a:cubicBezTo>
                <a:cubicBezTo>
                  <a:pt x="359" y="153"/>
                  <a:pt x="354" y="149"/>
                  <a:pt x="348" y="149"/>
                </a:cubicBezTo>
                <a:cubicBezTo>
                  <a:pt x="311" y="149"/>
                  <a:pt x="311" y="149"/>
                  <a:pt x="311" y="149"/>
                </a:cubicBezTo>
                <a:cubicBezTo>
                  <a:pt x="305" y="149"/>
                  <a:pt x="301" y="153"/>
                  <a:pt x="301" y="159"/>
                </a:cubicBezTo>
                <a:cubicBezTo>
                  <a:pt x="301" y="235"/>
                  <a:pt x="301" y="235"/>
                  <a:pt x="301" y="235"/>
                </a:cubicBezTo>
                <a:cubicBezTo>
                  <a:pt x="301" y="241"/>
                  <a:pt x="305" y="246"/>
                  <a:pt x="311" y="246"/>
                </a:cubicBezTo>
                <a:cubicBezTo>
                  <a:pt x="348" y="246"/>
                  <a:pt x="348" y="246"/>
                  <a:pt x="348" y="246"/>
                </a:cubicBezTo>
                <a:cubicBezTo>
                  <a:pt x="354" y="246"/>
                  <a:pt x="359" y="241"/>
                  <a:pt x="359" y="235"/>
                </a:cubicBezTo>
                <a:close/>
                <a:moveTo>
                  <a:pt x="316" y="226"/>
                </a:moveTo>
                <a:cubicBezTo>
                  <a:pt x="315" y="226"/>
                  <a:pt x="313" y="225"/>
                  <a:pt x="313" y="223"/>
                </a:cubicBezTo>
                <a:cubicBezTo>
                  <a:pt x="313" y="222"/>
                  <a:pt x="314" y="220"/>
                  <a:pt x="316" y="220"/>
                </a:cubicBezTo>
                <a:cubicBezTo>
                  <a:pt x="334" y="220"/>
                  <a:pt x="343" y="215"/>
                  <a:pt x="344" y="196"/>
                </a:cubicBezTo>
                <a:cubicBezTo>
                  <a:pt x="344" y="193"/>
                  <a:pt x="344" y="191"/>
                  <a:pt x="344" y="188"/>
                </a:cubicBezTo>
                <a:cubicBezTo>
                  <a:pt x="343" y="179"/>
                  <a:pt x="338" y="174"/>
                  <a:pt x="329" y="174"/>
                </a:cubicBezTo>
                <a:cubicBezTo>
                  <a:pt x="320" y="174"/>
                  <a:pt x="315" y="179"/>
                  <a:pt x="315" y="187"/>
                </a:cubicBezTo>
                <a:cubicBezTo>
                  <a:pt x="315" y="195"/>
                  <a:pt x="319" y="199"/>
                  <a:pt x="329" y="199"/>
                </a:cubicBezTo>
                <a:cubicBezTo>
                  <a:pt x="331" y="199"/>
                  <a:pt x="333" y="199"/>
                  <a:pt x="337" y="198"/>
                </a:cubicBezTo>
                <a:cubicBezTo>
                  <a:pt x="338" y="198"/>
                  <a:pt x="340" y="199"/>
                  <a:pt x="340" y="200"/>
                </a:cubicBezTo>
                <a:cubicBezTo>
                  <a:pt x="340" y="202"/>
                  <a:pt x="339" y="203"/>
                  <a:pt x="338" y="203"/>
                </a:cubicBezTo>
                <a:cubicBezTo>
                  <a:pt x="335" y="204"/>
                  <a:pt x="333" y="205"/>
                  <a:pt x="329" y="205"/>
                </a:cubicBezTo>
                <a:cubicBezTo>
                  <a:pt x="316" y="205"/>
                  <a:pt x="310" y="199"/>
                  <a:pt x="310" y="188"/>
                </a:cubicBezTo>
                <a:cubicBezTo>
                  <a:pt x="310" y="177"/>
                  <a:pt x="317" y="169"/>
                  <a:pt x="329" y="169"/>
                </a:cubicBezTo>
                <a:cubicBezTo>
                  <a:pt x="342" y="169"/>
                  <a:pt x="349" y="176"/>
                  <a:pt x="350" y="188"/>
                </a:cubicBezTo>
                <a:cubicBezTo>
                  <a:pt x="350" y="191"/>
                  <a:pt x="350" y="193"/>
                  <a:pt x="350" y="196"/>
                </a:cubicBezTo>
                <a:cubicBezTo>
                  <a:pt x="349" y="218"/>
                  <a:pt x="338" y="226"/>
                  <a:pt x="316" y="226"/>
                </a:cubicBezTo>
                <a:close/>
                <a:moveTo>
                  <a:pt x="179" y="149"/>
                </a:moveTo>
                <a:cubicBezTo>
                  <a:pt x="174" y="149"/>
                  <a:pt x="169" y="153"/>
                  <a:pt x="169" y="159"/>
                </a:cubicBezTo>
                <a:cubicBezTo>
                  <a:pt x="169" y="235"/>
                  <a:pt x="169" y="235"/>
                  <a:pt x="169" y="235"/>
                </a:cubicBezTo>
                <a:cubicBezTo>
                  <a:pt x="169" y="241"/>
                  <a:pt x="174" y="246"/>
                  <a:pt x="179" y="246"/>
                </a:cubicBezTo>
                <a:cubicBezTo>
                  <a:pt x="217" y="246"/>
                  <a:pt x="217" y="246"/>
                  <a:pt x="217" y="246"/>
                </a:cubicBezTo>
                <a:cubicBezTo>
                  <a:pt x="222" y="246"/>
                  <a:pt x="227" y="241"/>
                  <a:pt x="227" y="235"/>
                </a:cubicBezTo>
                <a:cubicBezTo>
                  <a:pt x="227" y="159"/>
                  <a:pt x="227" y="159"/>
                  <a:pt x="227" y="159"/>
                </a:cubicBezTo>
                <a:cubicBezTo>
                  <a:pt x="227" y="153"/>
                  <a:pt x="222" y="149"/>
                  <a:pt x="217" y="149"/>
                </a:cubicBezTo>
                <a:lnTo>
                  <a:pt x="179" y="149"/>
                </a:lnTo>
                <a:close/>
                <a:moveTo>
                  <a:pt x="183" y="225"/>
                </a:moveTo>
                <a:cubicBezTo>
                  <a:pt x="181" y="225"/>
                  <a:pt x="180" y="224"/>
                  <a:pt x="180" y="223"/>
                </a:cubicBezTo>
                <a:cubicBezTo>
                  <a:pt x="180" y="221"/>
                  <a:pt x="181" y="220"/>
                  <a:pt x="183" y="220"/>
                </a:cubicBezTo>
                <a:cubicBezTo>
                  <a:pt x="199" y="221"/>
                  <a:pt x="211" y="216"/>
                  <a:pt x="211" y="205"/>
                </a:cubicBezTo>
                <a:cubicBezTo>
                  <a:pt x="211" y="199"/>
                  <a:pt x="206" y="195"/>
                  <a:pt x="199" y="195"/>
                </a:cubicBezTo>
                <a:cubicBezTo>
                  <a:pt x="196" y="195"/>
                  <a:pt x="195" y="195"/>
                  <a:pt x="194" y="195"/>
                </a:cubicBezTo>
                <a:cubicBezTo>
                  <a:pt x="192" y="195"/>
                  <a:pt x="191" y="194"/>
                  <a:pt x="191" y="193"/>
                </a:cubicBezTo>
                <a:cubicBezTo>
                  <a:pt x="191" y="192"/>
                  <a:pt x="191" y="191"/>
                  <a:pt x="192" y="191"/>
                </a:cubicBezTo>
                <a:cubicBezTo>
                  <a:pt x="206" y="175"/>
                  <a:pt x="206" y="175"/>
                  <a:pt x="206" y="175"/>
                </a:cubicBezTo>
                <a:cubicBezTo>
                  <a:pt x="183" y="175"/>
                  <a:pt x="183" y="175"/>
                  <a:pt x="183" y="175"/>
                </a:cubicBezTo>
                <a:cubicBezTo>
                  <a:pt x="181" y="175"/>
                  <a:pt x="180" y="173"/>
                  <a:pt x="180" y="172"/>
                </a:cubicBezTo>
                <a:cubicBezTo>
                  <a:pt x="180" y="170"/>
                  <a:pt x="181" y="169"/>
                  <a:pt x="183" y="169"/>
                </a:cubicBezTo>
                <a:cubicBezTo>
                  <a:pt x="209" y="169"/>
                  <a:pt x="209" y="169"/>
                  <a:pt x="209" y="169"/>
                </a:cubicBezTo>
                <a:cubicBezTo>
                  <a:pt x="211" y="169"/>
                  <a:pt x="213" y="171"/>
                  <a:pt x="213" y="173"/>
                </a:cubicBezTo>
                <a:cubicBezTo>
                  <a:pt x="213" y="174"/>
                  <a:pt x="213" y="175"/>
                  <a:pt x="212" y="176"/>
                </a:cubicBezTo>
                <a:cubicBezTo>
                  <a:pt x="199" y="190"/>
                  <a:pt x="199" y="190"/>
                  <a:pt x="199" y="190"/>
                </a:cubicBezTo>
                <a:cubicBezTo>
                  <a:pt x="209" y="189"/>
                  <a:pt x="216" y="196"/>
                  <a:pt x="216" y="205"/>
                </a:cubicBezTo>
                <a:cubicBezTo>
                  <a:pt x="216" y="219"/>
                  <a:pt x="204" y="226"/>
                  <a:pt x="183" y="225"/>
                </a:cubicBezTo>
                <a:close/>
                <a:moveTo>
                  <a:pt x="245" y="149"/>
                </a:moveTo>
                <a:cubicBezTo>
                  <a:pt x="240" y="149"/>
                  <a:pt x="235" y="153"/>
                  <a:pt x="235" y="159"/>
                </a:cubicBezTo>
                <a:cubicBezTo>
                  <a:pt x="235" y="235"/>
                  <a:pt x="235" y="235"/>
                  <a:pt x="235" y="235"/>
                </a:cubicBezTo>
                <a:cubicBezTo>
                  <a:pt x="235" y="241"/>
                  <a:pt x="240" y="246"/>
                  <a:pt x="245" y="246"/>
                </a:cubicBezTo>
                <a:cubicBezTo>
                  <a:pt x="282" y="246"/>
                  <a:pt x="282" y="246"/>
                  <a:pt x="282" y="246"/>
                </a:cubicBezTo>
                <a:cubicBezTo>
                  <a:pt x="288" y="246"/>
                  <a:pt x="293" y="241"/>
                  <a:pt x="293" y="235"/>
                </a:cubicBezTo>
                <a:cubicBezTo>
                  <a:pt x="293" y="159"/>
                  <a:pt x="293" y="159"/>
                  <a:pt x="293" y="159"/>
                </a:cubicBezTo>
                <a:cubicBezTo>
                  <a:pt x="293" y="153"/>
                  <a:pt x="288" y="149"/>
                  <a:pt x="282" y="149"/>
                </a:cubicBezTo>
                <a:lnTo>
                  <a:pt x="245" y="149"/>
                </a:lnTo>
                <a:close/>
                <a:moveTo>
                  <a:pt x="285" y="210"/>
                </a:moveTo>
                <a:cubicBezTo>
                  <a:pt x="285" y="219"/>
                  <a:pt x="278" y="224"/>
                  <a:pt x="269" y="225"/>
                </a:cubicBezTo>
                <a:cubicBezTo>
                  <a:pt x="269" y="226"/>
                  <a:pt x="268" y="226"/>
                  <a:pt x="268" y="226"/>
                </a:cubicBezTo>
                <a:cubicBezTo>
                  <a:pt x="266" y="226"/>
                  <a:pt x="265" y="224"/>
                  <a:pt x="265" y="223"/>
                </a:cubicBezTo>
                <a:cubicBezTo>
                  <a:pt x="265" y="222"/>
                  <a:pt x="266" y="220"/>
                  <a:pt x="267" y="220"/>
                </a:cubicBezTo>
                <a:cubicBezTo>
                  <a:pt x="274" y="219"/>
                  <a:pt x="279" y="216"/>
                  <a:pt x="279" y="210"/>
                </a:cubicBezTo>
                <a:cubicBezTo>
                  <a:pt x="279" y="203"/>
                  <a:pt x="273" y="199"/>
                  <a:pt x="263" y="199"/>
                </a:cubicBezTo>
                <a:cubicBezTo>
                  <a:pt x="254" y="199"/>
                  <a:pt x="249" y="203"/>
                  <a:pt x="249" y="210"/>
                </a:cubicBezTo>
                <a:cubicBezTo>
                  <a:pt x="249" y="216"/>
                  <a:pt x="254" y="219"/>
                  <a:pt x="260" y="220"/>
                </a:cubicBezTo>
                <a:cubicBezTo>
                  <a:pt x="262" y="221"/>
                  <a:pt x="263" y="222"/>
                  <a:pt x="263" y="223"/>
                </a:cubicBezTo>
                <a:cubicBezTo>
                  <a:pt x="263" y="224"/>
                  <a:pt x="261" y="226"/>
                  <a:pt x="260" y="226"/>
                </a:cubicBezTo>
                <a:cubicBezTo>
                  <a:pt x="260" y="226"/>
                  <a:pt x="259" y="226"/>
                  <a:pt x="258" y="225"/>
                </a:cubicBezTo>
                <a:cubicBezTo>
                  <a:pt x="250" y="224"/>
                  <a:pt x="243" y="219"/>
                  <a:pt x="243" y="210"/>
                </a:cubicBezTo>
                <a:cubicBezTo>
                  <a:pt x="243" y="202"/>
                  <a:pt x="248" y="198"/>
                  <a:pt x="253" y="196"/>
                </a:cubicBezTo>
                <a:cubicBezTo>
                  <a:pt x="253" y="196"/>
                  <a:pt x="253" y="196"/>
                  <a:pt x="253" y="196"/>
                </a:cubicBezTo>
                <a:cubicBezTo>
                  <a:pt x="248" y="194"/>
                  <a:pt x="245" y="191"/>
                  <a:pt x="245" y="183"/>
                </a:cubicBezTo>
                <a:cubicBezTo>
                  <a:pt x="245" y="176"/>
                  <a:pt x="249" y="171"/>
                  <a:pt x="258" y="169"/>
                </a:cubicBezTo>
                <a:cubicBezTo>
                  <a:pt x="259" y="169"/>
                  <a:pt x="260" y="169"/>
                  <a:pt x="260" y="169"/>
                </a:cubicBezTo>
                <a:cubicBezTo>
                  <a:pt x="261" y="169"/>
                  <a:pt x="263" y="170"/>
                  <a:pt x="263" y="171"/>
                </a:cubicBezTo>
                <a:cubicBezTo>
                  <a:pt x="263" y="173"/>
                  <a:pt x="262" y="174"/>
                  <a:pt x="260" y="174"/>
                </a:cubicBezTo>
                <a:cubicBezTo>
                  <a:pt x="254" y="175"/>
                  <a:pt x="250" y="178"/>
                  <a:pt x="250" y="183"/>
                </a:cubicBezTo>
                <a:cubicBezTo>
                  <a:pt x="250" y="190"/>
                  <a:pt x="255" y="193"/>
                  <a:pt x="264" y="193"/>
                </a:cubicBezTo>
                <a:cubicBezTo>
                  <a:pt x="272" y="193"/>
                  <a:pt x="277" y="189"/>
                  <a:pt x="277" y="183"/>
                </a:cubicBezTo>
                <a:cubicBezTo>
                  <a:pt x="277" y="178"/>
                  <a:pt x="274" y="175"/>
                  <a:pt x="267" y="174"/>
                </a:cubicBezTo>
                <a:cubicBezTo>
                  <a:pt x="266" y="174"/>
                  <a:pt x="265" y="173"/>
                  <a:pt x="265" y="171"/>
                </a:cubicBezTo>
                <a:cubicBezTo>
                  <a:pt x="265" y="170"/>
                  <a:pt x="266" y="169"/>
                  <a:pt x="268" y="169"/>
                </a:cubicBezTo>
                <a:cubicBezTo>
                  <a:pt x="268" y="169"/>
                  <a:pt x="269" y="169"/>
                  <a:pt x="269" y="169"/>
                </a:cubicBezTo>
                <a:cubicBezTo>
                  <a:pt x="278" y="171"/>
                  <a:pt x="283" y="176"/>
                  <a:pt x="283" y="183"/>
                </a:cubicBezTo>
                <a:cubicBezTo>
                  <a:pt x="283" y="190"/>
                  <a:pt x="279" y="194"/>
                  <a:pt x="275" y="196"/>
                </a:cubicBezTo>
                <a:cubicBezTo>
                  <a:pt x="275" y="196"/>
                  <a:pt x="275" y="196"/>
                  <a:pt x="275" y="196"/>
                </a:cubicBezTo>
                <a:cubicBezTo>
                  <a:pt x="280" y="197"/>
                  <a:pt x="284" y="202"/>
                  <a:pt x="285" y="210"/>
                </a:cubicBezTo>
                <a:close/>
                <a:moveTo>
                  <a:pt x="114" y="149"/>
                </a:moveTo>
                <a:cubicBezTo>
                  <a:pt x="108" y="149"/>
                  <a:pt x="103" y="153"/>
                  <a:pt x="103" y="159"/>
                </a:cubicBezTo>
                <a:cubicBezTo>
                  <a:pt x="103" y="235"/>
                  <a:pt x="103" y="235"/>
                  <a:pt x="103" y="235"/>
                </a:cubicBezTo>
                <a:cubicBezTo>
                  <a:pt x="103" y="241"/>
                  <a:pt x="108" y="246"/>
                  <a:pt x="114" y="246"/>
                </a:cubicBezTo>
                <a:cubicBezTo>
                  <a:pt x="151" y="246"/>
                  <a:pt x="151" y="246"/>
                  <a:pt x="151" y="246"/>
                </a:cubicBezTo>
                <a:cubicBezTo>
                  <a:pt x="157" y="246"/>
                  <a:pt x="161" y="241"/>
                  <a:pt x="161" y="235"/>
                </a:cubicBezTo>
                <a:cubicBezTo>
                  <a:pt x="161" y="159"/>
                  <a:pt x="161" y="159"/>
                  <a:pt x="161" y="159"/>
                </a:cubicBezTo>
                <a:cubicBezTo>
                  <a:pt x="161" y="153"/>
                  <a:pt x="157" y="149"/>
                  <a:pt x="151" y="149"/>
                </a:cubicBezTo>
                <a:lnTo>
                  <a:pt x="114" y="149"/>
                </a:lnTo>
                <a:close/>
                <a:moveTo>
                  <a:pt x="117" y="225"/>
                </a:moveTo>
                <a:cubicBezTo>
                  <a:pt x="115" y="225"/>
                  <a:pt x="114" y="224"/>
                  <a:pt x="114" y="223"/>
                </a:cubicBezTo>
                <a:cubicBezTo>
                  <a:pt x="114" y="221"/>
                  <a:pt x="115" y="220"/>
                  <a:pt x="117" y="220"/>
                </a:cubicBezTo>
                <a:cubicBezTo>
                  <a:pt x="133" y="221"/>
                  <a:pt x="145" y="215"/>
                  <a:pt x="145" y="204"/>
                </a:cubicBezTo>
                <a:cubicBezTo>
                  <a:pt x="145" y="198"/>
                  <a:pt x="140" y="194"/>
                  <a:pt x="134" y="194"/>
                </a:cubicBezTo>
                <a:cubicBezTo>
                  <a:pt x="127" y="194"/>
                  <a:pt x="123" y="196"/>
                  <a:pt x="120" y="197"/>
                </a:cubicBezTo>
                <a:cubicBezTo>
                  <a:pt x="117" y="199"/>
                  <a:pt x="115" y="197"/>
                  <a:pt x="115" y="195"/>
                </a:cubicBezTo>
                <a:cubicBezTo>
                  <a:pt x="115" y="174"/>
                  <a:pt x="115" y="174"/>
                  <a:pt x="115" y="174"/>
                </a:cubicBezTo>
                <a:cubicBezTo>
                  <a:pt x="115" y="170"/>
                  <a:pt x="118" y="169"/>
                  <a:pt x="120" y="169"/>
                </a:cubicBezTo>
                <a:cubicBezTo>
                  <a:pt x="144" y="169"/>
                  <a:pt x="144" y="169"/>
                  <a:pt x="144" y="169"/>
                </a:cubicBezTo>
                <a:cubicBezTo>
                  <a:pt x="146" y="169"/>
                  <a:pt x="147" y="170"/>
                  <a:pt x="147" y="172"/>
                </a:cubicBezTo>
                <a:cubicBezTo>
                  <a:pt x="147" y="173"/>
                  <a:pt x="146" y="175"/>
                  <a:pt x="144" y="175"/>
                </a:cubicBezTo>
                <a:cubicBezTo>
                  <a:pt x="121" y="175"/>
                  <a:pt x="121" y="175"/>
                  <a:pt x="121" y="175"/>
                </a:cubicBezTo>
                <a:cubicBezTo>
                  <a:pt x="121" y="192"/>
                  <a:pt x="121" y="192"/>
                  <a:pt x="121" y="192"/>
                </a:cubicBezTo>
                <a:cubicBezTo>
                  <a:pt x="124" y="190"/>
                  <a:pt x="128" y="188"/>
                  <a:pt x="134" y="188"/>
                </a:cubicBezTo>
                <a:cubicBezTo>
                  <a:pt x="144" y="188"/>
                  <a:pt x="151" y="195"/>
                  <a:pt x="151" y="204"/>
                </a:cubicBezTo>
                <a:cubicBezTo>
                  <a:pt x="151" y="218"/>
                  <a:pt x="137" y="226"/>
                  <a:pt x="117" y="225"/>
                </a:cubicBezTo>
                <a:close/>
                <a:moveTo>
                  <a:pt x="37" y="159"/>
                </a:moveTo>
                <a:cubicBezTo>
                  <a:pt x="37" y="235"/>
                  <a:pt x="37" y="235"/>
                  <a:pt x="37" y="235"/>
                </a:cubicBezTo>
                <a:cubicBezTo>
                  <a:pt x="37" y="241"/>
                  <a:pt x="42" y="246"/>
                  <a:pt x="48" y="246"/>
                </a:cubicBezTo>
                <a:cubicBezTo>
                  <a:pt x="85" y="246"/>
                  <a:pt x="85" y="246"/>
                  <a:pt x="85" y="246"/>
                </a:cubicBezTo>
                <a:cubicBezTo>
                  <a:pt x="91" y="246"/>
                  <a:pt x="95" y="241"/>
                  <a:pt x="95" y="235"/>
                </a:cubicBezTo>
                <a:cubicBezTo>
                  <a:pt x="95" y="159"/>
                  <a:pt x="95" y="159"/>
                  <a:pt x="95" y="159"/>
                </a:cubicBezTo>
                <a:cubicBezTo>
                  <a:pt x="95" y="153"/>
                  <a:pt x="91" y="149"/>
                  <a:pt x="85" y="149"/>
                </a:cubicBezTo>
                <a:cubicBezTo>
                  <a:pt x="48" y="149"/>
                  <a:pt x="48" y="149"/>
                  <a:pt x="48" y="149"/>
                </a:cubicBezTo>
                <a:cubicBezTo>
                  <a:pt x="42" y="149"/>
                  <a:pt x="37" y="153"/>
                  <a:pt x="37" y="159"/>
                </a:cubicBezTo>
                <a:close/>
                <a:moveTo>
                  <a:pt x="66" y="174"/>
                </a:moveTo>
                <a:cubicBezTo>
                  <a:pt x="60" y="174"/>
                  <a:pt x="56" y="177"/>
                  <a:pt x="54" y="180"/>
                </a:cubicBezTo>
                <a:cubicBezTo>
                  <a:pt x="53" y="181"/>
                  <a:pt x="53" y="181"/>
                  <a:pt x="52" y="181"/>
                </a:cubicBezTo>
                <a:cubicBezTo>
                  <a:pt x="50" y="182"/>
                  <a:pt x="49" y="181"/>
                  <a:pt x="48" y="180"/>
                </a:cubicBezTo>
                <a:cubicBezTo>
                  <a:pt x="48" y="179"/>
                  <a:pt x="48" y="178"/>
                  <a:pt x="49" y="177"/>
                </a:cubicBezTo>
                <a:cubicBezTo>
                  <a:pt x="52" y="173"/>
                  <a:pt x="57" y="169"/>
                  <a:pt x="66" y="169"/>
                </a:cubicBezTo>
                <a:cubicBezTo>
                  <a:pt x="77" y="169"/>
                  <a:pt x="83" y="176"/>
                  <a:pt x="83" y="184"/>
                </a:cubicBezTo>
                <a:cubicBezTo>
                  <a:pt x="83" y="193"/>
                  <a:pt x="78" y="197"/>
                  <a:pt x="66" y="206"/>
                </a:cubicBezTo>
                <a:cubicBezTo>
                  <a:pt x="57" y="212"/>
                  <a:pt x="54" y="215"/>
                  <a:pt x="54" y="220"/>
                </a:cubicBezTo>
                <a:cubicBezTo>
                  <a:pt x="82" y="220"/>
                  <a:pt x="82" y="220"/>
                  <a:pt x="82" y="220"/>
                </a:cubicBezTo>
                <a:cubicBezTo>
                  <a:pt x="83" y="220"/>
                  <a:pt x="85" y="221"/>
                  <a:pt x="85" y="223"/>
                </a:cubicBezTo>
                <a:cubicBezTo>
                  <a:pt x="85" y="224"/>
                  <a:pt x="83" y="226"/>
                  <a:pt x="82" y="226"/>
                </a:cubicBezTo>
                <a:cubicBezTo>
                  <a:pt x="53" y="226"/>
                  <a:pt x="53" y="226"/>
                  <a:pt x="53" y="226"/>
                </a:cubicBezTo>
                <a:cubicBezTo>
                  <a:pt x="50" y="226"/>
                  <a:pt x="48" y="224"/>
                  <a:pt x="48" y="221"/>
                </a:cubicBezTo>
                <a:cubicBezTo>
                  <a:pt x="48" y="214"/>
                  <a:pt x="52" y="209"/>
                  <a:pt x="61" y="203"/>
                </a:cubicBezTo>
                <a:cubicBezTo>
                  <a:pt x="74" y="193"/>
                  <a:pt x="78" y="191"/>
                  <a:pt x="78" y="184"/>
                </a:cubicBezTo>
                <a:cubicBezTo>
                  <a:pt x="78" y="180"/>
                  <a:pt x="74" y="174"/>
                  <a:pt x="66" y="17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4" name="Group 6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541340" y="5210858"/>
            <a:ext cx="840397" cy="689881"/>
            <a:chOff x="1250592" y="5365091"/>
            <a:chExt cx="1706563" cy="1566862"/>
          </a:xfrm>
          <a:solidFill>
            <a:srgbClr val="FFFFFF"/>
          </a:solidFill>
        </p:grpSpPr>
        <p:sp>
          <p:nvSpPr>
            <p:cNvPr id="15" name="Freeform 3"/>
            <p:cNvSpPr>
              <a:spLocks noChangeAspect="1" noEditPoints="1"/>
            </p:cNvSpPr>
            <p:nvPr/>
          </p:nvSpPr>
          <p:spPr bwMode="auto">
            <a:xfrm>
              <a:off x="1773747" y="5646014"/>
              <a:ext cx="635162" cy="579057"/>
            </a:xfrm>
            <a:custGeom>
              <a:avLst/>
              <a:gdLst>
                <a:gd name="T0" fmla="*/ 2147483647 w 418"/>
                <a:gd name="T1" fmla="*/ 2147483647 h 333"/>
                <a:gd name="T2" fmla="*/ 2147483647 w 418"/>
                <a:gd name="T3" fmla="*/ 2147483647 h 333"/>
                <a:gd name="T4" fmla="*/ 2147483647 w 418"/>
                <a:gd name="T5" fmla="*/ 2147483647 h 333"/>
                <a:gd name="T6" fmla="*/ 2147483647 w 418"/>
                <a:gd name="T7" fmla="*/ 2147483647 h 333"/>
                <a:gd name="T8" fmla="*/ 2147483647 w 418"/>
                <a:gd name="T9" fmla="*/ 0 h 333"/>
                <a:gd name="T10" fmla="*/ 0 w 418"/>
                <a:gd name="T11" fmla="*/ 2147483647 h 333"/>
                <a:gd name="T12" fmla="*/ 2147483647 w 418"/>
                <a:gd name="T13" fmla="*/ 2147483647 h 333"/>
                <a:gd name="T14" fmla="*/ 2147483647 w 418"/>
                <a:gd name="T15" fmla="*/ 2147483647 h 333"/>
                <a:gd name="T16" fmla="*/ 2147483647 w 418"/>
                <a:gd name="T17" fmla="*/ 2147483647 h 333"/>
                <a:gd name="T18" fmla="*/ 2147483647 w 418"/>
                <a:gd name="T19" fmla="*/ 2147483647 h 333"/>
                <a:gd name="T20" fmla="*/ 2147483647 w 418"/>
                <a:gd name="T21" fmla="*/ 2147483647 h 333"/>
                <a:gd name="T22" fmla="*/ 2147483647 w 418"/>
                <a:gd name="T23" fmla="*/ 2147483647 h 333"/>
                <a:gd name="T24" fmla="*/ 2147483647 w 418"/>
                <a:gd name="T25" fmla="*/ 2147483647 h 333"/>
                <a:gd name="T26" fmla="*/ 2147483647 w 418"/>
                <a:gd name="T27" fmla="*/ 2147483647 h 333"/>
                <a:gd name="T28" fmla="*/ 2147483647 w 418"/>
                <a:gd name="T29" fmla="*/ 2147483647 h 333"/>
                <a:gd name="T30" fmla="*/ 2147483647 w 418"/>
                <a:gd name="T31" fmla="*/ 2147483647 h 333"/>
                <a:gd name="T32" fmla="*/ 2147483647 w 418"/>
                <a:gd name="T33" fmla="*/ 2147483647 h 333"/>
                <a:gd name="T34" fmla="*/ 2147483647 w 418"/>
                <a:gd name="T35" fmla="*/ 2147483647 h 333"/>
                <a:gd name="T36" fmla="*/ 2147483647 w 418"/>
                <a:gd name="T37" fmla="*/ 2147483647 h 333"/>
                <a:gd name="T38" fmla="*/ 2147483647 w 418"/>
                <a:gd name="T39" fmla="*/ 2147483647 h 333"/>
                <a:gd name="T40" fmla="*/ 2147483647 w 418"/>
                <a:gd name="T41" fmla="*/ 2147483647 h 333"/>
                <a:gd name="T42" fmla="*/ 2147483647 w 418"/>
                <a:gd name="T43" fmla="*/ 2147483647 h 333"/>
                <a:gd name="T44" fmla="*/ 2147483647 w 418"/>
                <a:gd name="T45" fmla="*/ 2147483647 h 333"/>
                <a:gd name="T46" fmla="*/ 2147483647 w 418"/>
                <a:gd name="T47" fmla="*/ 2147483647 h 333"/>
                <a:gd name="T48" fmla="*/ 2147483647 w 418"/>
                <a:gd name="T49" fmla="*/ 2147483647 h 333"/>
                <a:gd name="T50" fmla="*/ 2147483647 w 418"/>
                <a:gd name="T51" fmla="*/ 2147483647 h 333"/>
                <a:gd name="T52" fmla="*/ 2147483647 w 418"/>
                <a:gd name="T53" fmla="*/ 2147483647 h 333"/>
                <a:gd name="T54" fmla="*/ 2147483647 w 418"/>
                <a:gd name="T55" fmla="*/ 2147483647 h 333"/>
                <a:gd name="T56" fmla="*/ 2147483647 w 418"/>
                <a:gd name="T57" fmla="*/ 2147483647 h 333"/>
                <a:gd name="T58" fmla="*/ 2147483647 w 418"/>
                <a:gd name="T59" fmla="*/ 2147483647 h 333"/>
                <a:gd name="T60" fmla="*/ 2147483647 w 418"/>
                <a:gd name="T61" fmla="*/ 2147483647 h 333"/>
                <a:gd name="T62" fmla="*/ 2147483647 w 418"/>
                <a:gd name="T63" fmla="*/ 2147483647 h 333"/>
                <a:gd name="T64" fmla="*/ 2147483647 w 418"/>
                <a:gd name="T65" fmla="*/ 2147483647 h 333"/>
                <a:gd name="T66" fmla="*/ 2147483647 w 418"/>
                <a:gd name="T67" fmla="*/ 2147483647 h 333"/>
                <a:gd name="T68" fmla="*/ 2147483647 w 418"/>
                <a:gd name="T69" fmla="*/ 2147483647 h 333"/>
                <a:gd name="T70" fmla="*/ 2147483647 w 418"/>
                <a:gd name="T71" fmla="*/ 2147483647 h 333"/>
                <a:gd name="T72" fmla="*/ 2147483647 w 418"/>
                <a:gd name="T73" fmla="*/ 2147483647 h 333"/>
                <a:gd name="T74" fmla="*/ 2147483647 w 418"/>
                <a:gd name="T75" fmla="*/ 2147483647 h 333"/>
                <a:gd name="T76" fmla="*/ 2147483647 w 418"/>
                <a:gd name="T77" fmla="*/ 2147483647 h 333"/>
                <a:gd name="T78" fmla="*/ 2147483647 w 418"/>
                <a:gd name="T79" fmla="*/ 2147483647 h 333"/>
                <a:gd name="T80" fmla="*/ 2147483647 w 418"/>
                <a:gd name="T81" fmla="*/ 2147483647 h 333"/>
                <a:gd name="T82" fmla="*/ 2147483647 w 418"/>
                <a:gd name="T83" fmla="*/ 2147483647 h 333"/>
                <a:gd name="T84" fmla="*/ 2147483647 w 418"/>
                <a:gd name="T85" fmla="*/ 2147483647 h 33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18"/>
                <a:gd name="T130" fmla="*/ 0 h 333"/>
                <a:gd name="T131" fmla="*/ 418 w 418"/>
                <a:gd name="T132" fmla="*/ 333 h 33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18" h="333">
                  <a:moveTo>
                    <a:pt x="410" y="124"/>
                  </a:moveTo>
                  <a:cubicBezTo>
                    <a:pt x="406" y="124"/>
                    <a:pt x="402" y="128"/>
                    <a:pt x="402" y="132"/>
                  </a:cubicBezTo>
                  <a:cubicBezTo>
                    <a:pt x="402" y="138"/>
                    <a:pt x="402" y="145"/>
                    <a:pt x="402" y="152"/>
                  </a:cubicBezTo>
                  <a:cubicBezTo>
                    <a:pt x="402" y="152"/>
                    <a:pt x="402" y="152"/>
                    <a:pt x="402" y="152"/>
                  </a:cubicBezTo>
                  <a:cubicBezTo>
                    <a:pt x="402" y="264"/>
                    <a:pt x="402" y="264"/>
                    <a:pt x="402" y="264"/>
                  </a:cubicBezTo>
                  <a:cubicBezTo>
                    <a:pt x="16" y="264"/>
                    <a:pt x="16" y="264"/>
                    <a:pt x="16" y="264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402" y="69"/>
                    <a:pt x="402" y="69"/>
                    <a:pt x="402" y="69"/>
                  </a:cubicBezTo>
                  <a:cubicBezTo>
                    <a:pt x="402" y="90"/>
                    <a:pt x="402" y="90"/>
                    <a:pt x="402" y="90"/>
                  </a:cubicBezTo>
                  <a:cubicBezTo>
                    <a:pt x="402" y="90"/>
                    <a:pt x="402" y="90"/>
                    <a:pt x="402" y="90"/>
                  </a:cubicBezTo>
                  <a:cubicBezTo>
                    <a:pt x="402" y="93"/>
                    <a:pt x="402" y="93"/>
                    <a:pt x="402" y="93"/>
                  </a:cubicBezTo>
                  <a:cubicBezTo>
                    <a:pt x="402" y="98"/>
                    <a:pt x="406" y="101"/>
                    <a:pt x="410" y="101"/>
                  </a:cubicBezTo>
                  <a:cubicBezTo>
                    <a:pt x="415" y="101"/>
                    <a:pt x="418" y="98"/>
                    <a:pt x="418" y="93"/>
                  </a:cubicBezTo>
                  <a:cubicBezTo>
                    <a:pt x="418" y="31"/>
                    <a:pt x="418" y="31"/>
                    <a:pt x="418" y="31"/>
                  </a:cubicBezTo>
                  <a:cubicBezTo>
                    <a:pt x="418" y="14"/>
                    <a:pt x="405" y="0"/>
                    <a:pt x="388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4" y="0"/>
                    <a:pt x="0" y="14"/>
                    <a:pt x="0" y="31"/>
                  </a:cubicBezTo>
                  <a:cubicBezTo>
                    <a:pt x="0" y="302"/>
                    <a:pt x="0" y="302"/>
                    <a:pt x="0" y="302"/>
                  </a:cubicBezTo>
                  <a:cubicBezTo>
                    <a:pt x="0" y="319"/>
                    <a:pt x="14" y="333"/>
                    <a:pt x="31" y="333"/>
                  </a:cubicBezTo>
                  <a:cubicBezTo>
                    <a:pt x="388" y="333"/>
                    <a:pt x="388" y="333"/>
                    <a:pt x="388" y="333"/>
                  </a:cubicBezTo>
                  <a:cubicBezTo>
                    <a:pt x="405" y="333"/>
                    <a:pt x="418" y="319"/>
                    <a:pt x="418" y="302"/>
                  </a:cubicBezTo>
                  <a:cubicBezTo>
                    <a:pt x="418" y="302"/>
                    <a:pt x="418" y="190"/>
                    <a:pt x="418" y="132"/>
                  </a:cubicBezTo>
                  <a:cubicBezTo>
                    <a:pt x="418" y="128"/>
                    <a:pt x="415" y="124"/>
                    <a:pt x="410" y="124"/>
                  </a:cubicBezTo>
                  <a:close/>
                  <a:moveTo>
                    <a:pt x="65" y="41"/>
                  </a:moveTo>
                  <a:cubicBezTo>
                    <a:pt x="65" y="47"/>
                    <a:pt x="60" y="53"/>
                    <a:pt x="54" y="53"/>
                  </a:cubicBezTo>
                  <a:cubicBezTo>
                    <a:pt x="28" y="53"/>
                    <a:pt x="28" y="53"/>
                    <a:pt x="28" y="53"/>
                  </a:cubicBezTo>
                  <a:cubicBezTo>
                    <a:pt x="22" y="53"/>
                    <a:pt x="16" y="47"/>
                    <a:pt x="16" y="4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1"/>
                    <a:pt x="22" y="16"/>
                    <a:pt x="28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60" y="16"/>
                    <a:pt x="65" y="21"/>
                    <a:pt x="65" y="28"/>
                  </a:cubicBezTo>
                  <a:lnTo>
                    <a:pt x="65" y="41"/>
                  </a:lnTo>
                  <a:close/>
                  <a:moveTo>
                    <a:pt x="133" y="41"/>
                  </a:moveTo>
                  <a:cubicBezTo>
                    <a:pt x="133" y="47"/>
                    <a:pt x="128" y="53"/>
                    <a:pt x="121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89" y="53"/>
                    <a:pt x="84" y="47"/>
                    <a:pt x="84" y="41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1"/>
                    <a:pt x="89" y="16"/>
                    <a:pt x="95" y="16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8" y="16"/>
                    <a:pt x="133" y="21"/>
                    <a:pt x="133" y="28"/>
                  </a:cubicBezTo>
                  <a:lnTo>
                    <a:pt x="133" y="41"/>
                  </a:lnTo>
                  <a:close/>
                  <a:moveTo>
                    <a:pt x="200" y="41"/>
                  </a:moveTo>
                  <a:cubicBezTo>
                    <a:pt x="200" y="47"/>
                    <a:pt x="195" y="53"/>
                    <a:pt x="188" y="53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56" y="53"/>
                    <a:pt x="151" y="47"/>
                    <a:pt x="151" y="41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1"/>
                    <a:pt x="156" y="16"/>
                    <a:pt x="162" y="16"/>
                  </a:cubicBezTo>
                  <a:cubicBezTo>
                    <a:pt x="188" y="16"/>
                    <a:pt x="188" y="16"/>
                    <a:pt x="188" y="16"/>
                  </a:cubicBezTo>
                  <a:cubicBezTo>
                    <a:pt x="195" y="16"/>
                    <a:pt x="200" y="21"/>
                    <a:pt x="200" y="28"/>
                  </a:cubicBezTo>
                  <a:lnTo>
                    <a:pt x="200" y="41"/>
                  </a:lnTo>
                  <a:close/>
                  <a:moveTo>
                    <a:pt x="267" y="41"/>
                  </a:moveTo>
                  <a:cubicBezTo>
                    <a:pt x="267" y="47"/>
                    <a:pt x="262" y="53"/>
                    <a:pt x="256" y="53"/>
                  </a:cubicBezTo>
                  <a:cubicBezTo>
                    <a:pt x="230" y="53"/>
                    <a:pt x="230" y="53"/>
                    <a:pt x="230" y="53"/>
                  </a:cubicBezTo>
                  <a:cubicBezTo>
                    <a:pt x="223" y="53"/>
                    <a:pt x="218" y="47"/>
                    <a:pt x="218" y="41"/>
                  </a:cubicBezTo>
                  <a:cubicBezTo>
                    <a:pt x="218" y="28"/>
                    <a:pt x="218" y="28"/>
                    <a:pt x="218" y="28"/>
                  </a:cubicBezTo>
                  <a:cubicBezTo>
                    <a:pt x="218" y="21"/>
                    <a:pt x="223" y="16"/>
                    <a:pt x="230" y="16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62" y="16"/>
                    <a:pt x="267" y="21"/>
                    <a:pt x="267" y="28"/>
                  </a:cubicBezTo>
                  <a:lnTo>
                    <a:pt x="267" y="41"/>
                  </a:lnTo>
                  <a:close/>
                  <a:moveTo>
                    <a:pt x="334" y="41"/>
                  </a:moveTo>
                  <a:cubicBezTo>
                    <a:pt x="334" y="47"/>
                    <a:pt x="329" y="53"/>
                    <a:pt x="323" y="53"/>
                  </a:cubicBezTo>
                  <a:cubicBezTo>
                    <a:pt x="297" y="53"/>
                    <a:pt x="297" y="53"/>
                    <a:pt x="297" y="53"/>
                  </a:cubicBezTo>
                  <a:cubicBezTo>
                    <a:pt x="291" y="53"/>
                    <a:pt x="285" y="47"/>
                    <a:pt x="285" y="41"/>
                  </a:cubicBezTo>
                  <a:cubicBezTo>
                    <a:pt x="285" y="28"/>
                    <a:pt x="285" y="28"/>
                    <a:pt x="285" y="28"/>
                  </a:cubicBezTo>
                  <a:cubicBezTo>
                    <a:pt x="285" y="21"/>
                    <a:pt x="291" y="16"/>
                    <a:pt x="297" y="16"/>
                  </a:cubicBezTo>
                  <a:cubicBezTo>
                    <a:pt x="323" y="16"/>
                    <a:pt x="323" y="16"/>
                    <a:pt x="323" y="16"/>
                  </a:cubicBezTo>
                  <a:cubicBezTo>
                    <a:pt x="329" y="16"/>
                    <a:pt x="334" y="21"/>
                    <a:pt x="334" y="28"/>
                  </a:cubicBezTo>
                  <a:lnTo>
                    <a:pt x="334" y="41"/>
                  </a:lnTo>
                  <a:close/>
                  <a:moveTo>
                    <a:pt x="402" y="41"/>
                  </a:moveTo>
                  <a:cubicBezTo>
                    <a:pt x="402" y="47"/>
                    <a:pt x="397" y="53"/>
                    <a:pt x="390" y="53"/>
                  </a:cubicBezTo>
                  <a:cubicBezTo>
                    <a:pt x="364" y="53"/>
                    <a:pt x="364" y="53"/>
                    <a:pt x="364" y="53"/>
                  </a:cubicBezTo>
                  <a:cubicBezTo>
                    <a:pt x="358" y="53"/>
                    <a:pt x="353" y="47"/>
                    <a:pt x="353" y="41"/>
                  </a:cubicBezTo>
                  <a:cubicBezTo>
                    <a:pt x="353" y="28"/>
                    <a:pt x="353" y="28"/>
                    <a:pt x="353" y="28"/>
                  </a:cubicBezTo>
                  <a:cubicBezTo>
                    <a:pt x="353" y="21"/>
                    <a:pt x="358" y="16"/>
                    <a:pt x="364" y="16"/>
                  </a:cubicBezTo>
                  <a:cubicBezTo>
                    <a:pt x="390" y="16"/>
                    <a:pt x="390" y="16"/>
                    <a:pt x="390" y="16"/>
                  </a:cubicBezTo>
                  <a:cubicBezTo>
                    <a:pt x="397" y="16"/>
                    <a:pt x="402" y="21"/>
                    <a:pt x="402" y="28"/>
                  </a:cubicBezTo>
                  <a:lnTo>
                    <a:pt x="402" y="41"/>
                  </a:lnTo>
                  <a:close/>
                  <a:moveTo>
                    <a:pt x="353" y="292"/>
                  </a:moveTo>
                  <a:cubicBezTo>
                    <a:pt x="353" y="285"/>
                    <a:pt x="358" y="280"/>
                    <a:pt x="365" y="280"/>
                  </a:cubicBezTo>
                  <a:cubicBezTo>
                    <a:pt x="390" y="280"/>
                    <a:pt x="390" y="280"/>
                    <a:pt x="390" y="280"/>
                  </a:cubicBezTo>
                  <a:cubicBezTo>
                    <a:pt x="397" y="280"/>
                    <a:pt x="402" y="285"/>
                    <a:pt x="402" y="292"/>
                  </a:cubicBezTo>
                  <a:cubicBezTo>
                    <a:pt x="402" y="305"/>
                    <a:pt x="402" y="305"/>
                    <a:pt x="402" y="305"/>
                  </a:cubicBezTo>
                  <a:cubicBezTo>
                    <a:pt x="402" y="311"/>
                    <a:pt x="397" y="316"/>
                    <a:pt x="390" y="316"/>
                  </a:cubicBezTo>
                  <a:cubicBezTo>
                    <a:pt x="365" y="316"/>
                    <a:pt x="365" y="316"/>
                    <a:pt x="365" y="316"/>
                  </a:cubicBezTo>
                  <a:cubicBezTo>
                    <a:pt x="358" y="316"/>
                    <a:pt x="353" y="311"/>
                    <a:pt x="353" y="305"/>
                  </a:cubicBezTo>
                  <a:lnTo>
                    <a:pt x="353" y="292"/>
                  </a:lnTo>
                  <a:close/>
                  <a:moveTo>
                    <a:pt x="286" y="292"/>
                  </a:moveTo>
                  <a:cubicBezTo>
                    <a:pt x="286" y="285"/>
                    <a:pt x="291" y="280"/>
                    <a:pt x="297" y="280"/>
                  </a:cubicBezTo>
                  <a:cubicBezTo>
                    <a:pt x="323" y="280"/>
                    <a:pt x="323" y="280"/>
                    <a:pt x="323" y="280"/>
                  </a:cubicBezTo>
                  <a:cubicBezTo>
                    <a:pt x="330" y="280"/>
                    <a:pt x="335" y="285"/>
                    <a:pt x="335" y="292"/>
                  </a:cubicBezTo>
                  <a:cubicBezTo>
                    <a:pt x="335" y="305"/>
                    <a:pt x="335" y="305"/>
                    <a:pt x="335" y="305"/>
                  </a:cubicBezTo>
                  <a:cubicBezTo>
                    <a:pt x="335" y="311"/>
                    <a:pt x="330" y="316"/>
                    <a:pt x="323" y="316"/>
                  </a:cubicBezTo>
                  <a:cubicBezTo>
                    <a:pt x="297" y="316"/>
                    <a:pt x="297" y="316"/>
                    <a:pt x="297" y="316"/>
                  </a:cubicBezTo>
                  <a:cubicBezTo>
                    <a:pt x="291" y="316"/>
                    <a:pt x="286" y="311"/>
                    <a:pt x="286" y="305"/>
                  </a:cubicBezTo>
                  <a:lnTo>
                    <a:pt x="286" y="292"/>
                  </a:lnTo>
                  <a:close/>
                  <a:moveTo>
                    <a:pt x="218" y="292"/>
                  </a:moveTo>
                  <a:cubicBezTo>
                    <a:pt x="218" y="285"/>
                    <a:pt x="224" y="280"/>
                    <a:pt x="230" y="280"/>
                  </a:cubicBezTo>
                  <a:cubicBezTo>
                    <a:pt x="256" y="280"/>
                    <a:pt x="256" y="280"/>
                    <a:pt x="256" y="280"/>
                  </a:cubicBezTo>
                  <a:cubicBezTo>
                    <a:pt x="262" y="280"/>
                    <a:pt x="268" y="285"/>
                    <a:pt x="268" y="292"/>
                  </a:cubicBezTo>
                  <a:cubicBezTo>
                    <a:pt x="268" y="305"/>
                    <a:pt x="268" y="305"/>
                    <a:pt x="268" y="305"/>
                  </a:cubicBezTo>
                  <a:cubicBezTo>
                    <a:pt x="268" y="311"/>
                    <a:pt x="262" y="316"/>
                    <a:pt x="256" y="316"/>
                  </a:cubicBezTo>
                  <a:cubicBezTo>
                    <a:pt x="230" y="316"/>
                    <a:pt x="230" y="316"/>
                    <a:pt x="230" y="316"/>
                  </a:cubicBezTo>
                  <a:cubicBezTo>
                    <a:pt x="224" y="316"/>
                    <a:pt x="218" y="311"/>
                    <a:pt x="218" y="305"/>
                  </a:cubicBezTo>
                  <a:lnTo>
                    <a:pt x="218" y="292"/>
                  </a:lnTo>
                  <a:close/>
                  <a:moveTo>
                    <a:pt x="151" y="292"/>
                  </a:moveTo>
                  <a:cubicBezTo>
                    <a:pt x="151" y="285"/>
                    <a:pt x="156" y="280"/>
                    <a:pt x="163" y="280"/>
                  </a:cubicBezTo>
                  <a:cubicBezTo>
                    <a:pt x="189" y="280"/>
                    <a:pt x="189" y="280"/>
                    <a:pt x="189" y="280"/>
                  </a:cubicBezTo>
                  <a:cubicBezTo>
                    <a:pt x="195" y="280"/>
                    <a:pt x="200" y="285"/>
                    <a:pt x="200" y="292"/>
                  </a:cubicBezTo>
                  <a:cubicBezTo>
                    <a:pt x="200" y="305"/>
                    <a:pt x="200" y="305"/>
                    <a:pt x="200" y="305"/>
                  </a:cubicBezTo>
                  <a:cubicBezTo>
                    <a:pt x="200" y="311"/>
                    <a:pt x="195" y="316"/>
                    <a:pt x="189" y="316"/>
                  </a:cubicBezTo>
                  <a:cubicBezTo>
                    <a:pt x="163" y="316"/>
                    <a:pt x="163" y="316"/>
                    <a:pt x="163" y="316"/>
                  </a:cubicBezTo>
                  <a:cubicBezTo>
                    <a:pt x="156" y="316"/>
                    <a:pt x="151" y="311"/>
                    <a:pt x="151" y="305"/>
                  </a:cubicBezTo>
                  <a:lnTo>
                    <a:pt x="151" y="292"/>
                  </a:lnTo>
                  <a:close/>
                  <a:moveTo>
                    <a:pt x="84" y="292"/>
                  </a:moveTo>
                  <a:cubicBezTo>
                    <a:pt x="84" y="285"/>
                    <a:pt x="89" y="280"/>
                    <a:pt x="95" y="280"/>
                  </a:cubicBezTo>
                  <a:cubicBezTo>
                    <a:pt x="121" y="280"/>
                    <a:pt x="121" y="280"/>
                    <a:pt x="121" y="280"/>
                  </a:cubicBezTo>
                  <a:cubicBezTo>
                    <a:pt x="128" y="280"/>
                    <a:pt x="133" y="285"/>
                    <a:pt x="133" y="292"/>
                  </a:cubicBezTo>
                  <a:cubicBezTo>
                    <a:pt x="133" y="305"/>
                    <a:pt x="133" y="305"/>
                    <a:pt x="133" y="305"/>
                  </a:cubicBezTo>
                  <a:cubicBezTo>
                    <a:pt x="133" y="311"/>
                    <a:pt x="128" y="316"/>
                    <a:pt x="121" y="316"/>
                  </a:cubicBezTo>
                  <a:cubicBezTo>
                    <a:pt x="95" y="316"/>
                    <a:pt x="95" y="316"/>
                    <a:pt x="95" y="316"/>
                  </a:cubicBezTo>
                  <a:cubicBezTo>
                    <a:pt x="89" y="316"/>
                    <a:pt x="84" y="311"/>
                    <a:pt x="84" y="305"/>
                  </a:cubicBezTo>
                  <a:lnTo>
                    <a:pt x="84" y="292"/>
                  </a:lnTo>
                  <a:close/>
                  <a:moveTo>
                    <a:pt x="17" y="292"/>
                  </a:moveTo>
                  <a:cubicBezTo>
                    <a:pt x="17" y="285"/>
                    <a:pt x="22" y="280"/>
                    <a:pt x="28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1" y="280"/>
                    <a:pt x="66" y="285"/>
                    <a:pt x="66" y="292"/>
                  </a:cubicBezTo>
                  <a:cubicBezTo>
                    <a:pt x="66" y="305"/>
                    <a:pt x="66" y="305"/>
                    <a:pt x="66" y="305"/>
                  </a:cubicBezTo>
                  <a:cubicBezTo>
                    <a:pt x="66" y="311"/>
                    <a:pt x="61" y="316"/>
                    <a:pt x="54" y="316"/>
                  </a:cubicBezTo>
                  <a:cubicBezTo>
                    <a:pt x="28" y="316"/>
                    <a:pt x="28" y="316"/>
                    <a:pt x="28" y="316"/>
                  </a:cubicBezTo>
                  <a:cubicBezTo>
                    <a:pt x="22" y="316"/>
                    <a:pt x="17" y="311"/>
                    <a:pt x="17" y="305"/>
                  </a:cubicBezTo>
                  <a:lnTo>
                    <a:pt x="17" y="2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6" name="Freeform 3"/>
            <p:cNvSpPr>
              <a:spLocks noChangeAspect="1" noEditPoints="1"/>
            </p:cNvSpPr>
            <p:nvPr/>
          </p:nvSpPr>
          <p:spPr bwMode="auto">
            <a:xfrm>
              <a:off x="1250592" y="5365091"/>
              <a:ext cx="1706563" cy="1566862"/>
            </a:xfrm>
            <a:custGeom>
              <a:avLst/>
              <a:gdLst>
                <a:gd name="T0" fmla="*/ 2147483647 w 455"/>
                <a:gd name="T1" fmla="*/ 2147483647 h 418"/>
                <a:gd name="T2" fmla="*/ 2147483647 w 455"/>
                <a:gd name="T3" fmla="*/ 2147483647 h 418"/>
                <a:gd name="T4" fmla="*/ 2147483647 w 455"/>
                <a:gd name="T5" fmla="*/ 2147483647 h 418"/>
                <a:gd name="T6" fmla="*/ 2147483647 w 455"/>
                <a:gd name="T7" fmla="*/ 2147483647 h 418"/>
                <a:gd name="T8" fmla="*/ 2147483647 w 455"/>
                <a:gd name="T9" fmla="*/ 2147483647 h 418"/>
                <a:gd name="T10" fmla="*/ 2147483647 w 455"/>
                <a:gd name="T11" fmla="*/ 2147483647 h 418"/>
                <a:gd name="T12" fmla="*/ 2147483647 w 455"/>
                <a:gd name="T13" fmla="*/ 2147483647 h 418"/>
                <a:gd name="T14" fmla="*/ 2147483647 w 455"/>
                <a:gd name="T15" fmla="*/ 2147483647 h 418"/>
                <a:gd name="T16" fmla="*/ 2147483647 w 455"/>
                <a:gd name="T17" fmla="*/ 2147483647 h 418"/>
                <a:gd name="T18" fmla="*/ 2147483647 w 455"/>
                <a:gd name="T19" fmla="*/ 2147483647 h 418"/>
                <a:gd name="T20" fmla="*/ 2147483647 w 455"/>
                <a:gd name="T21" fmla="*/ 2147483647 h 418"/>
                <a:gd name="T22" fmla="*/ 2147483647 w 455"/>
                <a:gd name="T23" fmla="*/ 2147483647 h 418"/>
                <a:gd name="T24" fmla="*/ 2147483647 w 455"/>
                <a:gd name="T25" fmla="*/ 0 h 418"/>
                <a:gd name="T26" fmla="*/ 0 w 455"/>
                <a:gd name="T27" fmla="*/ 2147483647 h 418"/>
                <a:gd name="T28" fmla="*/ 2147483647 w 455"/>
                <a:gd name="T29" fmla="*/ 2147483647 h 418"/>
                <a:gd name="T30" fmla="*/ 2147483647 w 455"/>
                <a:gd name="T31" fmla="*/ 2147483647 h 418"/>
                <a:gd name="T32" fmla="*/ 2147483647 w 455"/>
                <a:gd name="T33" fmla="*/ 2147483647 h 418"/>
                <a:gd name="T34" fmla="*/ 2147483647 w 455"/>
                <a:gd name="T35" fmla="*/ 2147483647 h 418"/>
                <a:gd name="T36" fmla="*/ 2147483647 w 455"/>
                <a:gd name="T37" fmla="*/ 2147483647 h 418"/>
                <a:gd name="T38" fmla="*/ 2147483647 w 455"/>
                <a:gd name="T39" fmla="*/ 2147483647 h 418"/>
                <a:gd name="T40" fmla="*/ 2147483647 w 455"/>
                <a:gd name="T41" fmla="*/ 2147483647 h 418"/>
                <a:gd name="T42" fmla="*/ 2147483647 w 455"/>
                <a:gd name="T43" fmla="*/ 2147483647 h 418"/>
                <a:gd name="T44" fmla="*/ 2147483647 w 455"/>
                <a:gd name="T45" fmla="*/ 2147483647 h 418"/>
                <a:gd name="T46" fmla="*/ 2147483647 w 455"/>
                <a:gd name="T47" fmla="*/ 2147483647 h 418"/>
                <a:gd name="T48" fmla="*/ 2147483647 w 455"/>
                <a:gd name="T49" fmla="*/ 2147483647 h 418"/>
                <a:gd name="T50" fmla="*/ 2147483647 w 455"/>
                <a:gd name="T51" fmla="*/ 2147483647 h 418"/>
                <a:gd name="T52" fmla="*/ 2147483647 w 455"/>
                <a:gd name="T53" fmla="*/ 2147483647 h 418"/>
                <a:gd name="T54" fmla="*/ 2147483647 w 455"/>
                <a:gd name="T55" fmla="*/ 2147483647 h 418"/>
                <a:gd name="T56" fmla="*/ 2147483647 w 455"/>
                <a:gd name="T57" fmla="*/ 2147483647 h 418"/>
                <a:gd name="T58" fmla="*/ 2147483647 w 455"/>
                <a:gd name="T59" fmla="*/ 2147483647 h 418"/>
                <a:gd name="T60" fmla="*/ 2147483647 w 455"/>
                <a:gd name="T61" fmla="*/ 2147483647 h 418"/>
                <a:gd name="T62" fmla="*/ 2147483647 w 455"/>
                <a:gd name="T63" fmla="*/ 2147483647 h 418"/>
                <a:gd name="T64" fmla="*/ 2147483647 w 455"/>
                <a:gd name="T65" fmla="*/ 2147483647 h 418"/>
                <a:gd name="T66" fmla="*/ 2147483647 w 455"/>
                <a:gd name="T67" fmla="*/ 2147483647 h 418"/>
                <a:gd name="T68" fmla="*/ 2147483647 w 455"/>
                <a:gd name="T69" fmla="*/ 2147483647 h 418"/>
                <a:gd name="T70" fmla="*/ 2147483647 w 455"/>
                <a:gd name="T71" fmla="*/ 2147483647 h 418"/>
                <a:gd name="T72" fmla="*/ 2147483647 w 455"/>
                <a:gd name="T73" fmla="*/ 2147483647 h 418"/>
                <a:gd name="T74" fmla="*/ 2147483647 w 455"/>
                <a:gd name="T75" fmla="*/ 2147483647 h 418"/>
                <a:gd name="T76" fmla="*/ 2147483647 w 455"/>
                <a:gd name="T77" fmla="*/ 2147483647 h 418"/>
                <a:gd name="T78" fmla="*/ 2147483647 w 455"/>
                <a:gd name="T79" fmla="*/ 2147483647 h 418"/>
                <a:gd name="T80" fmla="*/ 2147483647 w 455"/>
                <a:gd name="T81" fmla="*/ 2147483647 h 418"/>
                <a:gd name="T82" fmla="*/ 2147483647 w 455"/>
                <a:gd name="T83" fmla="*/ 2147483647 h 418"/>
                <a:gd name="T84" fmla="*/ 2147483647 w 455"/>
                <a:gd name="T85" fmla="*/ 2147483647 h 418"/>
                <a:gd name="T86" fmla="*/ 2147483647 w 455"/>
                <a:gd name="T87" fmla="*/ 2147483647 h 418"/>
                <a:gd name="T88" fmla="*/ 2147483647 w 455"/>
                <a:gd name="T89" fmla="*/ 2147483647 h 418"/>
                <a:gd name="T90" fmla="*/ 2147483647 w 455"/>
                <a:gd name="T91" fmla="*/ 2147483647 h 418"/>
                <a:gd name="T92" fmla="*/ 2147483647 w 455"/>
                <a:gd name="T93" fmla="*/ 2147483647 h 418"/>
                <a:gd name="T94" fmla="*/ 2147483647 w 455"/>
                <a:gd name="T95" fmla="*/ 2147483647 h 418"/>
                <a:gd name="T96" fmla="*/ 2147483647 w 455"/>
                <a:gd name="T97" fmla="*/ 2147483647 h 418"/>
                <a:gd name="T98" fmla="*/ 2147483647 w 455"/>
                <a:gd name="T99" fmla="*/ 2147483647 h 418"/>
                <a:gd name="T100" fmla="*/ 2147483647 w 455"/>
                <a:gd name="T101" fmla="*/ 2147483647 h 418"/>
                <a:gd name="T102" fmla="*/ 2147483647 w 455"/>
                <a:gd name="T103" fmla="*/ 2147483647 h 41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55"/>
                <a:gd name="T157" fmla="*/ 0 h 418"/>
                <a:gd name="T158" fmla="*/ 455 w 455"/>
                <a:gd name="T159" fmla="*/ 418 h 41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55" h="418">
                  <a:moveTo>
                    <a:pt x="385" y="294"/>
                  </a:moveTo>
                  <a:cubicBezTo>
                    <a:pt x="385" y="298"/>
                    <a:pt x="389" y="301"/>
                    <a:pt x="393" y="301"/>
                  </a:cubicBezTo>
                  <a:cubicBezTo>
                    <a:pt x="397" y="301"/>
                    <a:pt x="400" y="298"/>
                    <a:pt x="400" y="294"/>
                  </a:cubicBezTo>
                  <a:cubicBezTo>
                    <a:pt x="400" y="290"/>
                    <a:pt x="397" y="287"/>
                    <a:pt x="393" y="287"/>
                  </a:cubicBezTo>
                  <a:cubicBezTo>
                    <a:pt x="389" y="287"/>
                    <a:pt x="385" y="290"/>
                    <a:pt x="385" y="294"/>
                  </a:cubicBezTo>
                  <a:close/>
                  <a:moveTo>
                    <a:pt x="412" y="294"/>
                  </a:moveTo>
                  <a:cubicBezTo>
                    <a:pt x="412" y="298"/>
                    <a:pt x="415" y="301"/>
                    <a:pt x="419" y="301"/>
                  </a:cubicBezTo>
                  <a:cubicBezTo>
                    <a:pt x="423" y="301"/>
                    <a:pt x="426" y="298"/>
                    <a:pt x="426" y="294"/>
                  </a:cubicBezTo>
                  <a:cubicBezTo>
                    <a:pt x="426" y="290"/>
                    <a:pt x="423" y="287"/>
                    <a:pt x="419" y="287"/>
                  </a:cubicBezTo>
                  <a:cubicBezTo>
                    <a:pt x="415" y="287"/>
                    <a:pt x="412" y="290"/>
                    <a:pt x="412" y="294"/>
                  </a:cubicBezTo>
                  <a:close/>
                  <a:moveTo>
                    <a:pt x="447" y="61"/>
                  </a:moveTo>
                  <a:cubicBezTo>
                    <a:pt x="443" y="61"/>
                    <a:pt x="439" y="65"/>
                    <a:pt x="439" y="69"/>
                  </a:cubicBezTo>
                  <a:cubicBezTo>
                    <a:pt x="439" y="310"/>
                    <a:pt x="439" y="310"/>
                    <a:pt x="439" y="310"/>
                  </a:cubicBezTo>
                  <a:cubicBezTo>
                    <a:pt x="439" y="311"/>
                    <a:pt x="438" y="312"/>
                    <a:pt x="437" y="312"/>
                  </a:cubicBezTo>
                  <a:cubicBezTo>
                    <a:pt x="18" y="312"/>
                    <a:pt x="18" y="312"/>
                    <a:pt x="18" y="312"/>
                  </a:cubicBezTo>
                  <a:cubicBezTo>
                    <a:pt x="17" y="312"/>
                    <a:pt x="16" y="311"/>
                    <a:pt x="16" y="310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7"/>
                    <a:pt x="17" y="16"/>
                    <a:pt x="18" y="16"/>
                  </a:cubicBezTo>
                  <a:cubicBezTo>
                    <a:pt x="437" y="16"/>
                    <a:pt x="437" y="16"/>
                    <a:pt x="437" y="16"/>
                  </a:cubicBezTo>
                  <a:cubicBezTo>
                    <a:pt x="438" y="16"/>
                    <a:pt x="439" y="17"/>
                    <a:pt x="439" y="18"/>
                  </a:cubicBezTo>
                  <a:cubicBezTo>
                    <a:pt x="439" y="41"/>
                    <a:pt x="439" y="41"/>
                    <a:pt x="439" y="41"/>
                  </a:cubicBezTo>
                  <a:cubicBezTo>
                    <a:pt x="439" y="46"/>
                    <a:pt x="443" y="49"/>
                    <a:pt x="447" y="49"/>
                  </a:cubicBezTo>
                  <a:cubicBezTo>
                    <a:pt x="451" y="49"/>
                    <a:pt x="455" y="46"/>
                    <a:pt x="455" y="41"/>
                  </a:cubicBezTo>
                  <a:cubicBezTo>
                    <a:pt x="455" y="41"/>
                    <a:pt x="455" y="41"/>
                    <a:pt x="455" y="41"/>
                  </a:cubicBezTo>
                  <a:cubicBezTo>
                    <a:pt x="455" y="18"/>
                    <a:pt x="455" y="18"/>
                    <a:pt x="455" y="18"/>
                  </a:cubicBezTo>
                  <a:cubicBezTo>
                    <a:pt x="455" y="8"/>
                    <a:pt x="447" y="0"/>
                    <a:pt x="437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320"/>
                    <a:pt x="8" y="328"/>
                    <a:pt x="18" y="328"/>
                  </a:cubicBezTo>
                  <a:cubicBezTo>
                    <a:pt x="175" y="328"/>
                    <a:pt x="175" y="328"/>
                    <a:pt x="175" y="328"/>
                  </a:cubicBezTo>
                  <a:cubicBezTo>
                    <a:pt x="175" y="328"/>
                    <a:pt x="175" y="328"/>
                    <a:pt x="175" y="328"/>
                  </a:cubicBezTo>
                  <a:cubicBezTo>
                    <a:pt x="175" y="331"/>
                    <a:pt x="175" y="336"/>
                    <a:pt x="175" y="344"/>
                  </a:cubicBezTo>
                  <a:cubicBezTo>
                    <a:pt x="175" y="345"/>
                    <a:pt x="175" y="346"/>
                    <a:pt x="175" y="347"/>
                  </a:cubicBezTo>
                  <a:cubicBezTo>
                    <a:pt x="150" y="349"/>
                    <a:pt x="129" y="353"/>
                    <a:pt x="114" y="357"/>
                  </a:cubicBezTo>
                  <a:cubicBezTo>
                    <a:pt x="105" y="360"/>
                    <a:pt x="98" y="363"/>
                    <a:pt x="93" y="366"/>
                  </a:cubicBezTo>
                  <a:cubicBezTo>
                    <a:pt x="88" y="369"/>
                    <a:pt x="83" y="374"/>
                    <a:pt x="83" y="382"/>
                  </a:cubicBezTo>
                  <a:cubicBezTo>
                    <a:pt x="83" y="386"/>
                    <a:pt x="85" y="390"/>
                    <a:pt x="88" y="393"/>
                  </a:cubicBezTo>
                  <a:cubicBezTo>
                    <a:pt x="92" y="398"/>
                    <a:pt x="99" y="401"/>
                    <a:pt x="108" y="404"/>
                  </a:cubicBezTo>
                  <a:cubicBezTo>
                    <a:pt x="133" y="412"/>
                    <a:pt x="176" y="418"/>
                    <a:pt x="226" y="418"/>
                  </a:cubicBezTo>
                  <a:cubicBezTo>
                    <a:pt x="264" y="418"/>
                    <a:pt x="299" y="415"/>
                    <a:pt x="324" y="409"/>
                  </a:cubicBezTo>
                  <a:cubicBezTo>
                    <a:pt x="337" y="407"/>
                    <a:pt x="347" y="404"/>
                    <a:pt x="355" y="400"/>
                  </a:cubicBezTo>
                  <a:cubicBezTo>
                    <a:pt x="359" y="398"/>
                    <a:pt x="362" y="396"/>
                    <a:pt x="365" y="393"/>
                  </a:cubicBezTo>
                  <a:cubicBezTo>
                    <a:pt x="368" y="390"/>
                    <a:pt x="370" y="386"/>
                    <a:pt x="370" y="382"/>
                  </a:cubicBezTo>
                  <a:cubicBezTo>
                    <a:pt x="370" y="374"/>
                    <a:pt x="365" y="369"/>
                    <a:pt x="360" y="366"/>
                  </a:cubicBezTo>
                  <a:cubicBezTo>
                    <a:pt x="345" y="357"/>
                    <a:pt x="316" y="351"/>
                    <a:pt x="279" y="348"/>
                  </a:cubicBezTo>
                  <a:cubicBezTo>
                    <a:pt x="279" y="346"/>
                    <a:pt x="279" y="345"/>
                    <a:pt x="279" y="344"/>
                  </a:cubicBezTo>
                  <a:cubicBezTo>
                    <a:pt x="279" y="335"/>
                    <a:pt x="279" y="330"/>
                    <a:pt x="279" y="328"/>
                  </a:cubicBezTo>
                  <a:cubicBezTo>
                    <a:pt x="437" y="328"/>
                    <a:pt x="437" y="328"/>
                    <a:pt x="437" y="328"/>
                  </a:cubicBezTo>
                  <a:cubicBezTo>
                    <a:pt x="447" y="328"/>
                    <a:pt x="455" y="320"/>
                    <a:pt x="455" y="310"/>
                  </a:cubicBezTo>
                  <a:cubicBezTo>
                    <a:pt x="455" y="69"/>
                    <a:pt x="455" y="69"/>
                    <a:pt x="455" y="69"/>
                  </a:cubicBezTo>
                  <a:cubicBezTo>
                    <a:pt x="455" y="65"/>
                    <a:pt x="451" y="61"/>
                    <a:pt x="447" y="61"/>
                  </a:cubicBezTo>
                  <a:close/>
                  <a:moveTo>
                    <a:pt x="290" y="387"/>
                  </a:moveTo>
                  <a:cubicBezTo>
                    <a:pt x="291" y="388"/>
                    <a:pt x="292" y="388"/>
                    <a:pt x="293" y="388"/>
                  </a:cubicBezTo>
                  <a:cubicBezTo>
                    <a:pt x="296" y="388"/>
                    <a:pt x="299" y="386"/>
                    <a:pt x="301" y="383"/>
                  </a:cubicBezTo>
                  <a:cubicBezTo>
                    <a:pt x="302" y="379"/>
                    <a:pt x="300" y="374"/>
                    <a:pt x="296" y="373"/>
                  </a:cubicBezTo>
                  <a:cubicBezTo>
                    <a:pt x="296" y="373"/>
                    <a:pt x="296" y="373"/>
                    <a:pt x="296" y="372"/>
                  </a:cubicBezTo>
                  <a:cubicBezTo>
                    <a:pt x="294" y="372"/>
                    <a:pt x="290" y="369"/>
                    <a:pt x="286" y="365"/>
                  </a:cubicBezTo>
                  <a:cubicBezTo>
                    <a:pt x="286" y="365"/>
                    <a:pt x="286" y="364"/>
                    <a:pt x="286" y="364"/>
                  </a:cubicBezTo>
                  <a:cubicBezTo>
                    <a:pt x="306" y="366"/>
                    <a:pt x="323" y="369"/>
                    <a:pt x="335" y="373"/>
                  </a:cubicBezTo>
                  <a:cubicBezTo>
                    <a:pt x="342" y="375"/>
                    <a:pt x="348" y="378"/>
                    <a:pt x="351" y="380"/>
                  </a:cubicBezTo>
                  <a:cubicBezTo>
                    <a:pt x="352" y="380"/>
                    <a:pt x="353" y="381"/>
                    <a:pt x="354" y="382"/>
                  </a:cubicBezTo>
                  <a:cubicBezTo>
                    <a:pt x="353" y="382"/>
                    <a:pt x="353" y="382"/>
                    <a:pt x="352" y="383"/>
                  </a:cubicBezTo>
                  <a:cubicBezTo>
                    <a:pt x="346" y="387"/>
                    <a:pt x="329" y="393"/>
                    <a:pt x="307" y="396"/>
                  </a:cubicBezTo>
                  <a:cubicBezTo>
                    <a:pt x="285" y="400"/>
                    <a:pt x="257" y="402"/>
                    <a:pt x="226" y="402"/>
                  </a:cubicBezTo>
                  <a:cubicBezTo>
                    <a:pt x="189" y="402"/>
                    <a:pt x="156" y="399"/>
                    <a:pt x="132" y="394"/>
                  </a:cubicBezTo>
                  <a:cubicBezTo>
                    <a:pt x="120" y="391"/>
                    <a:pt x="111" y="388"/>
                    <a:pt x="105" y="385"/>
                  </a:cubicBezTo>
                  <a:cubicBezTo>
                    <a:pt x="102" y="384"/>
                    <a:pt x="100" y="382"/>
                    <a:pt x="99" y="382"/>
                  </a:cubicBezTo>
                  <a:cubicBezTo>
                    <a:pt x="99" y="382"/>
                    <a:pt x="99" y="382"/>
                    <a:pt x="99" y="382"/>
                  </a:cubicBezTo>
                  <a:cubicBezTo>
                    <a:pt x="101" y="379"/>
                    <a:pt x="110" y="374"/>
                    <a:pt x="124" y="371"/>
                  </a:cubicBezTo>
                  <a:cubicBezTo>
                    <a:pt x="136" y="368"/>
                    <a:pt x="151" y="366"/>
                    <a:pt x="168" y="364"/>
                  </a:cubicBezTo>
                  <a:cubicBezTo>
                    <a:pt x="168" y="365"/>
                    <a:pt x="167" y="366"/>
                    <a:pt x="166" y="366"/>
                  </a:cubicBezTo>
                  <a:cubicBezTo>
                    <a:pt x="164" y="369"/>
                    <a:pt x="162" y="370"/>
                    <a:pt x="160" y="371"/>
                  </a:cubicBezTo>
                  <a:cubicBezTo>
                    <a:pt x="159" y="372"/>
                    <a:pt x="159" y="372"/>
                    <a:pt x="158" y="372"/>
                  </a:cubicBezTo>
                  <a:cubicBezTo>
                    <a:pt x="158" y="372"/>
                    <a:pt x="158" y="372"/>
                    <a:pt x="158" y="373"/>
                  </a:cubicBezTo>
                  <a:cubicBezTo>
                    <a:pt x="154" y="374"/>
                    <a:pt x="152" y="379"/>
                    <a:pt x="153" y="383"/>
                  </a:cubicBezTo>
                  <a:cubicBezTo>
                    <a:pt x="155" y="386"/>
                    <a:pt x="158" y="388"/>
                    <a:pt x="161" y="388"/>
                  </a:cubicBezTo>
                  <a:cubicBezTo>
                    <a:pt x="162" y="388"/>
                    <a:pt x="163" y="388"/>
                    <a:pt x="164" y="387"/>
                  </a:cubicBezTo>
                  <a:cubicBezTo>
                    <a:pt x="164" y="387"/>
                    <a:pt x="171" y="384"/>
                    <a:pt x="177" y="378"/>
                  </a:cubicBezTo>
                  <a:cubicBezTo>
                    <a:pt x="184" y="371"/>
                    <a:pt x="191" y="360"/>
                    <a:pt x="191" y="344"/>
                  </a:cubicBezTo>
                  <a:cubicBezTo>
                    <a:pt x="191" y="335"/>
                    <a:pt x="191" y="330"/>
                    <a:pt x="191" y="328"/>
                  </a:cubicBezTo>
                  <a:cubicBezTo>
                    <a:pt x="263" y="328"/>
                    <a:pt x="263" y="328"/>
                    <a:pt x="263" y="328"/>
                  </a:cubicBezTo>
                  <a:cubicBezTo>
                    <a:pt x="263" y="328"/>
                    <a:pt x="263" y="328"/>
                    <a:pt x="263" y="328"/>
                  </a:cubicBezTo>
                  <a:cubicBezTo>
                    <a:pt x="263" y="331"/>
                    <a:pt x="263" y="336"/>
                    <a:pt x="263" y="344"/>
                  </a:cubicBezTo>
                  <a:cubicBezTo>
                    <a:pt x="263" y="360"/>
                    <a:pt x="270" y="371"/>
                    <a:pt x="276" y="378"/>
                  </a:cubicBezTo>
                  <a:cubicBezTo>
                    <a:pt x="283" y="384"/>
                    <a:pt x="290" y="387"/>
                    <a:pt x="290" y="387"/>
                  </a:cubicBezTo>
                  <a:close/>
                  <a:moveTo>
                    <a:pt x="427" y="46"/>
                  </a:moveTo>
                  <a:cubicBezTo>
                    <a:pt x="427" y="37"/>
                    <a:pt x="420" y="29"/>
                    <a:pt x="411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35" y="29"/>
                    <a:pt x="27" y="37"/>
                    <a:pt x="27" y="46"/>
                  </a:cubicBezTo>
                  <a:cubicBezTo>
                    <a:pt x="27" y="259"/>
                    <a:pt x="27" y="259"/>
                    <a:pt x="27" y="259"/>
                  </a:cubicBezTo>
                  <a:cubicBezTo>
                    <a:pt x="27" y="268"/>
                    <a:pt x="35" y="276"/>
                    <a:pt x="44" y="276"/>
                  </a:cubicBezTo>
                  <a:cubicBezTo>
                    <a:pt x="411" y="276"/>
                    <a:pt x="411" y="276"/>
                    <a:pt x="411" y="276"/>
                  </a:cubicBezTo>
                  <a:cubicBezTo>
                    <a:pt x="420" y="276"/>
                    <a:pt x="427" y="268"/>
                    <a:pt x="427" y="259"/>
                  </a:cubicBezTo>
                  <a:lnTo>
                    <a:pt x="427" y="46"/>
                  </a:lnTo>
                  <a:close/>
                  <a:moveTo>
                    <a:pt x="411" y="259"/>
                  </a:moveTo>
                  <a:cubicBezTo>
                    <a:pt x="411" y="260"/>
                    <a:pt x="411" y="260"/>
                    <a:pt x="411" y="260"/>
                  </a:cubicBezTo>
                  <a:cubicBezTo>
                    <a:pt x="44" y="260"/>
                    <a:pt x="44" y="260"/>
                    <a:pt x="44" y="260"/>
                  </a:cubicBezTo>
                  <a:cubicBezTo>
                    <a:pt x="44" y="260"/>
                    <a:pt x="43" y="260"/>
                    <a:pt x="43" y="259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4" y="45"/>
                    <a:pt x="44" y="45"/>
                  </a:cubicBezTo>
                  <a:cubicBezTo>
                    <a:pt x="411" y="45"/>
                    <a:pt x="411" y="45"/>
                    <a:pt x="411" y="45"/>
                  </a:cubicBezTo>
                  <a:cubicBezTo>
                    <a:pt x="411" y="45"/>
                    <a:pt x="411" y="46"/>
                    <a:pt x="411" y="46"/>
                  </a:cubicBezTo>
                  <a:lnTo>
                    <a:pt x="411" y="2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58585A"/>
                </a:solidFill>
                <a:effectLst/>
                <a:uLnTx/>
                <a:uFillTx/>
                <a:ea typeface="MS PGothic" pitchFamily="34" charset="-128"/>
                <a:cs typeface="Arial" charset="0"/>
              </a:endParaRPr>
            </a:p>
          </p:txBody>
        </p:sp>
      </p:grpSp>
      <p:cxnSp>
        <p:nvCxnSpPr>
          <p:cNvPr id="18" name="Straight Connector 19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auto">
          <a:xfrm flipV="1">
            <a:off x="1536700" y="3662363"/>
            <a:ext cx="889000" cy="1684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19" name="Straight Connector 37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auto">
          <a:xfrm flipV="1">
            <a:off x="1525588" y="3582988"/>
            <a:ext cx="857250" cy="10207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0" name="Straight Connector 39"/>
          <p:cNvCxnSpPr>
            <a:cxnSpLocks noChangeShapeType="1"/>
          </p:cNvCxnSpPr>
          <p:nvPr>
            <p:custDataLst>
              <p:tags r:id="rId9"/>
            </p:custDataLst>
          </p:nvPr>
        </p:nvCxnSpPr>
        <p:spPr bwMode="auto">
          <a:xfrm flipV="1">
            <a:off x="1536700" y="3509963"/>
            <a:ext cx="820738" cy="5937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1" name="Straight Connector 41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auto">
          <a:xfrm>
            <a:off x="1590675" y="3382963"/>
            <a:ext cx="777875" cy="301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2" name="Straight Connector 44"/>
          <p:cNvCxnSpPr>
            <a:cxnSpLocks noChangeShapeType="1"/>
          </p:cNvCxnSpPr>
          <p:nvPr>
            <p:custDataLst>
              <p:tags r:id="rId11"/>
            </p:custDataLst>
          </p:nvPr>
        </p:nvCxnSpPr>
        <p:spPr bwMode="auto">
          <a:xfrm>
            <a:off x="1563688" y="2546350"/>
            <a:ext cx="841375" cy="7953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3" name="Straight Connector 47"/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auto">
          <a:xfrm>
            <a:off x="1536700" y="1617663"/>
            <a:ext cx="946150" cy="16557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5" name="Straight Connector 51"/>
          <p:cNvCxnSpPr>
            <a:cxnSpLocks noChangeShapeType="1"/>
          </p:cNvCxnSpPr>
          <p:nvPr>
            <p:custDataLst>
              <p:tags r:id="rId13"/>
            </p:custDataLst>
          </p:nvPr>
        </p:nvCxnSpPr>
        <p:spPr bwMode="auto">
          <a:xfrm flipH="1" flipV="1">
            <a:off x="10075863" y="3640138"/>
            <a:ext cx="628650" cy="169386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6" name="Straight Connector 52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auto">
          <a:xfrm flipH="1" flipV="1">
            <a:off x="10075863" y="3538538"/>
            <a:ext cx="693737" cy="9715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7" name="Straight Connector 53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 flipH="1" flipV="1">
            <a:off x="10112375" y="3471863"/>
            <a:ext cx="657225" cy="31908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8" name="Straight Connector 54"/>
          <p:cNvCxnSpPr>
            <a:cxnSpLocks noChangeShapeType="1"/>
          </p:cNvCxnSpPr>
          <p:nvPr>
            <p:custDataLst>
              <p:tags r:id="rId16"/>
            </p:custDataLst>
          </p:nvPr>
        </p:nvCxnSpPr>
        <p:spPr bwMode="auto">
          <a:xfrm flipH="1">
            <a:off x="10112375" y="3168650"/>
            <a:ext cx="657225" cy="21431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29" name="Straight Connector 55"/>
          <p:cNvCxnSpPr>
            <a:cxnSpLocks noChangeShapeType="1"/>
          </p:cNvCxnSpPr>
          <p:nvPr>
            <p:custDataLst>
              <p:tags r:id="rId17"/>
            </p:custDataLst>
          </p:nvPr>
        </p:nvCxnSpPr>
        <p:spPr bwMode="auto">
          <a:xfrm flipH="1">
            <a:off x="10093325" y="2700338"/>
            <a:ext cx="676275" cy="61118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30" name="Straight Connector 56"/>
          <p:cNvCxnSpPr>
            <a:cxnSpLocks noChangeShapeType="1"/>
          </p:cNvCxnSpPr>
          <p:nvPr>
            <p:custDataLst>
              <p:tags r:id="rId18"/>
            </p:custDataLst>
          </p:nvPr>
        </p:nvCxnSpPr>
        <p:spPr bwMode="auto">
          <a:xfrm flipH="1">
            <a:off x="10058400" y="1962150"/>
            <a:ext cx="711200" cy="127476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pic>
        <p:nvPicPr>
          <p:cNvPr id="15382" name="Econ2011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09338" y="360363"/>
            <a:ext cx="444500" cy="58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2" name="Straight Connector 50"/>
          <p:cNvCxnSpPr>
            <a:cxnSpLocks noChangeShapeType="1"/>
          </p:cNvCxnSpPr>
          <p:nvPr>
            <p:custDataLst>
              <p:tags r:id="rId20"/>
            </p:custDataLst>
          </p:nvPr>
        </p:nvCxnSpPr>
        <p:spPr bwMode="auto">
          <a:xfrm>
            <a:off x="2908300" y="5948363"/>
            <a:ext cx="6659563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34" name="Straight Connector 59"/>
          <p:cNvCxnSpPr>
            <a:cxnSpLocks noChangeShapeType="1"/>
          </p:cNvCxnSpPr>
          <p:nvPr>
            <p:custDataLst>
              <p:tags r:id="rId21"/>
            </p:custDataLst>
          </p:nvPr>
        </p:nvCxnSpPr>
        <p:spPr bwMode="auto">
          <a:xfrm>
            <a:off x="2551113" y="3298825"/>
            <a:ext cx="7415212" cy="0"/>
          </a:xfrm>
          <a:prstGeom prst="line">
            <a:avLst/>
          </a:prstGeom>
          <a:noFill/>
          <a:ln w="28575" cap="rnd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35" name="Straight Connector 60"/>
          <p:cNvCxnSpPr>
            <a:cxnSpLocks noChangeShapeType="1"/>
          </p:cNvCxnSpPr>
          <p:nvPr>
            <p:custDataLst>
              <p:tags r:id="rId22"/>
            </p:custDataLst>
          </p:nvPr>
        </p:nvCxnSpPr>
        <p:spPr bwMode="auto">
          <a:xfrm>
            <a:off x="2551113" y="3392488"/>
            <a:ext cx="2794000" cy="4762"/>
          </a:xfrm>
          <a:prstGeom prst="line">
            <a:avLst/>
          </a:prstGeom>
          <a:noFill/>
          <a:ln w="28575" cap="rnd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36" name="Straight Connector 61"/>
          <p:cNvCxnSpPr>
            <a:cxnSpLocks noChangeShapeType="1"/>
          </p:cNvCxnSpPr>
          <p:nvPr>
            <p:custDataLst>
              <p:tags r:id="rId23"/>
            </p:custDataLst>
          </p:nvPr>
        </p:nvCxnSpPr>
        <p:spPr bwMode="auto">
          <a:xfrm>
            <a:off x="2551113" y="3486150"/>
            <a:ext cx="2794000" cy="9525"/>
          </a:xfrm>
          <a:prstGeom prst="line">
            <a:avLst/>
          </a:prstGeom>
          <a:noFill/>
          <a:ln w="28575" cap="rnd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cxnSp>
        <p:nvCxnSpPr>
          <p:cNvPr id="37" name="Straight Connector 62"/>
          <p:cNvCxnSpPr>
            <a:cxnSpLocks noChangeShapeType="1"/>
          </p:cNvCxnSpPr>
          <p:nvPr>
            <p:custDataLst>
              <p:tags r:id="rId24"/>
            </p:custDataLst>
          </p:nvPr>
        </p:nvCxnSpPr>
        <p:spPr bwMode="auto">
          <a:xfrm>
            <a:off x="2551113" y="3579813"/>
            <a:ext cx="2794000" cy="0"/>
          </a:xfrm>
          <a:prstGeom prst="line">
            <a:avLst/>
          </a:prstGeom>
          <a:noFill/>
          <a:ln w="28575" cap="rnd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sp>
        <p:nvSpPr>
          <p:cNvPr id="15388" name="Freeform 7"/>
          <p:cNvSpPr>
            <a:spLocks noChangeAspect="1"/>
          </p:cNvSpPr>
          <p:nvPr/>
        </p:nvSpPr>
        <p:spPr bwMode="auto">
          <a:xfrm>
            <a:off x="2501900" y="2413000"/>
            <a:ext cx="7421563" cy="755650"/>
          </a:xfrm>
          <a:custGeom>
            <a:avLst/>
            <a:gdLst>
              <a:gd name="T0" fmla="*/ 2147483646 w 2234"/>
              <a:gd name="T1" fmla="*/ 2147483646 h 227"/>
              <a:gd name="T2" fmla="*/ 0 w 2234"/>
              <a:gd name="T3" fmla="*/ 2147483646 h 227"/>
              <a:gd name="T4" fmla="*/ 0 w 2234"/>
              <a:gd name="T5" fmla="*/ 2147483646 h 227"/>
              <a:gd name="T6" fmla="*/ 0 w 2234"/>
              <a:gd name="T7" fmla="*/ 2147483646 h 227"/>
              <a:gd name="T8" fmla="*/ 2147483646 w 2234"/>
              <a:gd name="T9" fmla="*/ 0 h 227"/>
              <a:gd name="T10" fmla="*/ 2147483646 w 2234"/>
              <a:gd name="T11" fmla="*/ 0 h 227"/>
              <a:gd name="T12" fmla="*/ 2147483646 w 2234"/>
              <a:gd name="T13" fmla="*/ 0 h 227"/>
              <a:gd name="T14" fmla="*/ 2147483646 w 2234"/>
              <a:gd name="T15" fmla="*/ 2147483646 h 227"/>
              <a:gd name="T16" fmla="*/ 2147483646 w 2234"/>
              <a:gd name="T17" fmla="*/ 2147483646 h 227"/>
              <a:gd name="T18" fmla="*/ 2147483646 w 2234"/>
              <a:gd name="T19" fmla="*/ 2147483646 h 227"/>
              <a:gd name="T20" fmla="*/ 2147483646 w 2234"/>
              <a:gd name="T21" fmla="*/ 2147483646 h 227"/>
              <a:gd name="T22" fmla="*/ 2147483646 w 2234"/>
              <a:gd name="T23" fmla="*/ 2147483646 h 227"/>
              <a:gd name="T24" fmla="*/ 2147483646 w 2234"/>
              <a:gd name="T25" fmla="*/ 2147483646 h 227"/>
              <a:gd name="T26" fmla="*/ 2147483646 w 2234"/>
              <a:gd name="T27" fmla="*/ 2147483646 h 227"/>
              <a:gd name="T28" fmla="*/ 2147483646 w 2234"/>
              <a:gd name="T29" fmla="*/ 2147483646 h 227"/>
              <a:gd name="T30" fmla="*/ 2147483646 w 2234"/>
              <a:gd name="T31" fmla="*/ 2147483646 h 227"/>
              <a:gd name="T32" fmla="*/ 2147483646 w 2234"/>
              <a:gd name="T33" fmla="*/ 2147483646 h 227"/>
              <a:gd name="T34" fmla="*/ 2147483646 w 2234"/>
              <a:gd name="T35" fmla="*/ 2147483646 h 227"/>
              <a:gd name="T36" fmla="*/ 2147483646 w 2234"/>
              <a:gd name="T37" fmla="*/ 2147483646 h 227"/>
              <a:gd name="T38" fmla="*/ 2147483646 w 2234"/>
              <a:gd name="T39" fmla="*/ 2147483646 h 227"/>
              <a:gd name="T40" fmla="*/ 2147483646 w 2234"/>
              <a:gd name="T41" fmla="*/ 2147483646 h 227"/>
              <a:gd name="T42" fmla="*/ 2147483646 w 2234"/>
              <a:gd name="T43" fmla="*/ 2147483646 h 227"/>
              <a:gd name="T44" fmla="*/ 2147483646 w 2234"/>
              <a:gd name="T45" fmla="*/ 2147483646 h 227"/>
              <a:gd name="T46" fmla="*/ 2147483646 w 2234"/>
              <a:gd name="T47" fmla="*/ 2147483646 h 227"/>
              <a:gd name="T48" fmla="*/ 2147483646 w 2234"/>
              <a:gd name="T49" fmla="*/ 2147483646 h 227"/>
              <a:gd name="T50" fmla="*/ 2147483646 w 2234"/>
              <a:gd name="T51" fmla="*/ 2147483646 h 227"/>
              <a:gd name="T52" fmla="*/ 2147483646 w 2234"/>
              <a:gd name="T53" fmla="*/ 2147483646 h 227"/>
              <a:gd name="T54" fmla="*/ 2147483646 w 2234"/>
              <a:gd name="T55" fmla="*/ 2147483646 h 227"/>
              <a:gd name="T56" fmla="*/ 2147483646 w 2234"/>
              <a:gd name="T57" fmla="*/ 2147483646 h 227"/>
              <a:gd name="T58" fmla="*/ 2147483646 w 2234"/>
              <a:gd name="T59" fmla="*/ 2147483646 h 227"/>
              <a:gd name="T60" fmla="*/ 2147483646 w 2234"/>
              <a:gd name="T61" fmla="*/ 2147483646 h 227"/>
              <a:gd name="T62" fmla="*/ 2147483646 w 2234"/>
              <a:gd name="T63" fmla="*/ 2147483646 h 227"/>
              <a:gd name="T64" fmla="*/ 2147483646 w 2234"/>
              <a:gd name="T65" fmla="*/ 2147483646 h 227"/>
              <a:gd name="T66" fmla="*/ 2147483646 w 2234"/>
              <a:gd name="T67" fmla="*/ 2147483646 h 227"/>
              <a:gd name="T68" fmla="*/ 2147483646 w 2234"/>
              <a:gd name="T69" fmla="*/ 2147483646 h 227"/>
              <a:gd name="T70" fmla="*/ 2147483646 w 2234"/>
              <a:gd name="T71" fmla="*/ 2147483646 h 22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34"/>
              <a:gd name="T109" fmla="*/ 0 h 227"/>
              <a:gd name="T110" fmla="*/ 2234 w 2234"/>
              <a:gd name="T111" fmla="*/ 227 h 22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34" h="227">
                <a:moveTo>
                  <a:pt x="31" y="227"/>
                </a:moveTo>
                <a:cubicBezTo>
                  <a:pt x="14" y="227"/>
                  <a:pt x="0" y="213"/>
                  <a:pt x="0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13"/>
                  <a:pt x="14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2203" y="0"/>
                  <a:pt x="2203" y="0"/>
                  <a:pt x="2203" y="0"/>
                </a:cubicBezTo>
                <a:cubicBezTo>
                  <a:pt x="2220" y="0"/>
                  <a:pt x="2234" y="13"/>
                  <a:pt x="2234" y="30"/>
                </a:cubicBezTo>
                <a:cubicBezTo>
                  <a:pt x="2234" y="30"/>
                  <a:pt x="2234" y="30"/>
                  <a:pt x="2234" y="30"/>
                </a:cubicBezTo>
                <a:cubicBezTo>
                  <a:pt x="2234" y="52"/>
                  <a:pt x="2234" y="52"/>
                  <a:pt x="2234" y="52"/>
                </a:cubicBezTo>
                <a:cubicBezTo>
                  <a:pt x="2234" y="57"/>
                  <a:pt x="2230" y="60"/>
                  <a:pt x="2226" y="60"/>
                </a:cubicBezTo>
                <a:cubicBezTo>
                  <a:pt x="2226" y="60"/>
                  <a:pt x="2226" y="60"/>
                  <a:pt x="2226" y="60"/>
                </a:cubicBezTo>
                <a:cubicBezTo>
                  <a:pt x="2221" y="60"/>
                  <a:pt x="2218" y="57"/>
                  <a:pt x="2218" y="52"/>
                </a:cubicBezTo>
                <a:cubicBezTo>
                  <a:pt x="2218" y="52"/>
                  <a:pt x="2218" y="52"/>
                  <a:pt x="2218" y="52"/>
                </a:cubicBezTo>
                <a:cubicBezTo>
                  <a:pt x="2218" y="30"/>
                  <a:pt x="2218" y="30"/>
                  <a:pt x="2218" y="30"/>
                </a:cubicBezTo>
                <a:cubicBezTo>
                  <a:pt x="2218" y="22"/>
                  <a:pt x="2211" y="16"/>
                  <a:pt x="2203" y="16"/>
                </a:cubicBezTo>
                <a:cubicBezTo>
                  <a:pt x="2203" y="16"/>
                  <a:pt x="2203" y="16"/>
                  <a:pt x="2203" y="16"/>
                </a:cubicBezTo>
                <a:cubicBezTo>
                  <a:pt x="31" y="16"/>
                  <a:pt x="31" y="16"/>
                  <a:pt x="31" y="16"/>
                </a:cubicBezTo>
                <a:cubicBezTo>
                  <a:pt x="23" y="16"/>
                  <a:pt x="16" y="22"/>
                  <a:pt x="16" y="30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204"/>
                  <a:pt x="23" y="211"/>
                  <a:pt x="31" y="211"/>
                </a:cubicBezTo>
                <a:cubicBezTo>
                  <a:pt x="31" y="211"/>
                  <a:pt x="31" y="211"/>
                  <a:pt x="31" y="211"/>
                </a:cubicBezTo>
                <a:cubicBezTo>
                  <a:pt x="2203" y="211"/>
                  <a:pt x="2203" y="211"/>
                  <a:pt x="2203" y="211"/>
                </a:cubicBezTo>
                <a:cubicBezTo>
                  <a:pt x="2211" y="211"/>
                  <a:pt x="2218" y="204"/>
                  <a:pt x="2218" y="196"/>
                </a:cubicBezTo>
                <a:cubicBezTo>
                  <a:pt x="2218" y="196"/>
                  <a:pt x="2218" y="196"/>
                  <a:pt x="2218" y="196"/>
                </a:cubicBezTo>
                <a:cubicBezTo>
                  <a:pt x="2218" y="82"/>
                  <a:pt x="2218" y="82"/>
                  <a:pt x="2218" y="82"/>
                </a:cubicBezTo>
                <a:cubicBezTo>
                  <a:pt x="2218" y="82"/>
                  <a:pt x="2218" y="82"/>
                  <a:pt x="2218" y="82"/>
                </a:cubicBezTo>
                <a:cubicBezTo>
                  <a:pt x="2218" y="78"/>
                  <a:pt x="2221" y="74"/>
                  <a:pt x="2226" y="74"/>
                </a:cubicBezTo>
                <a:cubicBezTo>
                  <a:pt x="2226" y="74"/>
                  <a:pt x="2226" y="74"/>
                  <a:pt x="2226" y="74"/>
                </a:cubicBezTo>
                <a:cubicBezTo>
                  <a:pt x="2230" y="74"/>
                  <a:pt x="2234" y="78"/>
                  <a:pt x="2234" y="82"/>
                </a:cubicBezTo>
                <a:cubicBezTo>
                  <a:pt x="2234" y="82"/>
                  <a:pt x="2234" y="82"/>
                  <a:pt x="2234" y="82"/>
                </a:cubicBezTo>
                <a:cubicBezTo>
                  <a:pt x="2234" y="196"/>
                  <a:pt x="2234" y="196"/>
                  <a:pt x="2234" y="196"/>
                </a:cubicBezTo>
                <a:cubicBezTo>
                  <a:pt x="2234" y="213"/>
                  <a:pt x="2220" y="227"/>
                  <a:pt x="2203" y="227"/>
                </a:cubicBezTo>
                <a:cubicBezTo>
                  <a:pt x="2203" y="227"/>
                  <a:pt x="2203" y="227"/>
                  <a:pt x="2203" y="227"/>
                </a:cubicBezTo>
                <a:cubicBezTo>
                  <a:pt x="31" y="227"/>
                  <a:pt x="31" y="227"/>
                  <a:pt x="31" y="22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6000" tIns="82800" rIns="126000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Management &amp; Orchestration, Analytics &amp; Exposure</a:t>
            </a:r>
          </a:p>
        </p:txBody>
      </p:sp>
      <p:grpSp>
        <p:nvGrpSpPr>
          <p:cNvPr id="15389" name="Group 26686"/>
          <p:cNvGrpSpPr>
            <a:grpSpLocks/>
          </p:cNvGrpSpPr>
          <p:nvPr/>
        </p:nvGrpSpPr>
        <p:grpSpPr bwMode="auto">
          <a:xfrm>
            <a:off x="4427538" y="3802063"/>
            <a:ext cx="1809750" cy="1512887"/>
            <a:chOff x="2524449" y="3827893"/>
            <a:chExt cx="1810186" cy="1511778"/>
          </a:xfrm>
        </p:grpSpPr>
        <p:grpSp>
          <p:nvGrpSpPr>
            <p:cNvPr id="15434" name="Group 38"/>
            <p:cNvGrpSpPr>
              <a:grpSpLocks noChangeAspect="1"/>
            </p:cNvGrpSpPr>
            <p:nvPr/>
          </p:nvGrpSpPr>
          <p:grpSpPr bwMode="auto">
            <a:xfrm>
              <a:off x="2763172" y="4168691"/>
              <a:ext cx="1356897" cy="956731"/>
              <a:chOff x="6578600" y="5335588"/>
              <a:chExt cx="1895475" cy="1336675"/>
            </a:xfrm>
          </p:grpSpPr>
          <p:sp>
            <p:nvSpPr>
              <p:cNvPr id="15436" name="Freeform 56"/>
              <p:cNvSpPr>
                <a:spLocks noChangeAspect="1" noEditPoints="1"/>
              </p:cNvSpPr>
              <p:nvPr/>
            </p:nvSpPr>
            <p:spPr bwMode="auto">
              <a:xfrm>
                <a:off x="8013455" y="5929955"/>
                <a:ext cx="461263" cy="743010"/>
              </a:xfrm>
              <a:custGeom>
                <a:avLst/>
                <a:gdLst>
                  <a:gd name="T0" fmla="*/ 2147483646 w 255"/>
                  <a:gd name="T1" fmla="*/ 2147483646 h 412"/>
                  <a:gd name="T2" fmla="*/ 2147483646 w 255"/>
                  <a:gd name="T3" fmla="*/ 2147483646 h 412"/>
                  <a:gd name="T4" fmla="*/ 2147483646 w 255"/>
                  <a:gd name="T5" fmla="*/ 2147483646 h 412"/>
                  <a:gd name="T6" fmla="*/ 2147483646 w 255"/>
                  <a:gd name="T7" fmla="*/ 2147483646 h 412"/>
                  <a:gd name="T8" fmla="*/ 2147483646 w 255"/>
                  <a:gd name="T9" fmla="*/ 2147483646 h 412"/>
                  <a:gd name="T10" fmla="*/ 2147483646 w 255"/>
                  <a:gd name="T11" fmla="*/ 2147483646 h 412"/>
                  <a:gd name="T12" fmla="*/ 2147483646 w 255"/>
                  <a:gd name="T13" fmla="*/ 2147483646 h 412"/>
                  <a:gd name="T14" fmla="*/ 2147483646 w 255"/>
                  <a:gd name="T15" fmla="*/ 2147483646 h 412"/>
                  <a:gd name="T16" fmla="*/ 2147483646 w 255"/>
                  <a:gd name="T17" fmla="*/ 2147483646 h 412"/>
                  <a:gd name="T18" fmla="*/ 2147483646 w 255"/>
                  <a:gd name="T19" fmla="*/ 2147483646 h 412"/>
                  <a:gd name="T20" fmla="*/ 2147483646 w 255"/>
                  <a:gd name="T21" fmla="*/ 2147483646 h 412"/>
                  <a:gd name="T22" fmla="*/ 2147483646 w 255"/>
                  <a:gd name="T23" fmla="*/ 2147483646 h 412"/>
                  <a:gd name="T24" fmla="*/ 2147483646 w 255"/>
                  <a:gd name="T25" fmla="*/ 2147483646 h 412"/>
                  <a:gd name="T26" fmla="*/ 2147483646 w 255"/>
                  <a:gd name="T27" fmla="*/ 2147483646 h 412"/>
                  <a:gd name="T28" fmla="*/ 2147483646 w 255"/>
                  <a:gd name="T29" fmla="*/ 2147483646 h 412"/>
                  <a:gd name="T30" fmla="*/ 2147483646 w 255"/>
                  <a:gd name="T31" fmla="*/ 2147483646 h 412"/>
                  <a:gd name="T32" fmla="*/ 2147483646 w 255"/>
                  <a:gd name="T33" fmla="*/ 2147483646 h 412"/>
                  <a:gd name="T34" fmla="*/ 2147483646 w 255"/>
                  <a:gd name="T35" fmla="*/ 2147483646 h 412"/>
                  <a:gd name="T36" fmla="*/ 2147483646 w 255"/>
                  <a:gd name="T37" fmla="*/ 2147483646 h 412"/>
                  <a:gd name="T38" fmla="*/ 2147483646 w 255"/>
                  <a:gd name="T39" fmla="*/ 2147483646 h 412"/>
                  <a:gd name="T40" fmla="*/ 2147483646 w 255"/>
                  <a:gd name="T41" fmla="*/ 2147483646 h 412"/>
                  <a:gd name="T42" fmla="*/ 2147483646 w 255"/>
                  <a:gd name="T43" fmla="*/ 2147483646 h 412"/>
                  <a:gd name="T44" fmla="*/ 2147483646 w 255"/>
                  <a:gd name="T45" fmla="*/ 2147483646 h 412"/>
                  <a:gd name="T46" fmla="*/ 2147483646 w 255"/>
                  <a:gd name="T47" fmla="*/ 2147483646 h 412"/>
                  <a:gd name="T48" fmla="*/ 2147483646 w 255"/>
                  <a:gd name="T49" fmla="*/ 2147483646 h 412"/>
                  <a:gd name="T50" fmla="*/ 2147483646 w 255"/>
                  <a:gd name="T51" fmla="*/ 2147483646 h 412"/>
                  <a:gd name="T52" fmla="*/ 2147483646 w 255"/>
                  <a:gd name="T53" fmla="*/ 2147483646 h 412"/>
                  <a:gd name="T54" fmla="*/ 2147483646 w 255"/>
                  <a:gd name="T55" fmla="*/ 2147483646 h 412"/>
                  <a:gd name="T56" fmla="*/ 2147483646 w 255"/>
                  <a:gd name="T57" fmla="*/ 2147483646 h 412"/>
                  <a:gd name="T58" fmla="*/ 2147483646 w 255"/>
                  <a:gd name="T59" fmla="*/ 2147483646 h 412"/>
                  <a:gd name="T60" fmla="*/ 2147483646 w 255"/>
                  <a:gd name="T61" fmla="*/ 2147483646 h 412"/>
                  <a:gd name="T62" fmla="*/ 2147483646 w 255"/>
                  <a:gd name="T63" fmla="*/ 2147483646 h 412"/>
                  <a:gd name="T64" fmla="*/ 2147483646 w 255"/>
                  <a:gd name="T65" fmla="*/ 2147483646 h 412"/>
                  <a:gd name="T66" fmla="*/ 2147483646 w 255"/>
                  <a:gd name="T67" fmla="*/ 2147483646 h 412"/>
                  <a:gd name="T68" fmla="*/ 2147483646 w 255"/>
                  <a:gd name="T69" fmla="*/ 2147483646 h 412"/>
                  <a:gd name="T70" fmla="*/ 2147483646 w 255"/>
                  <a:gd name="T71" fmla="*/ 2147483646 h 412"/>
                  <a:gd name="T72" fmla="*/ 2147483646 w 255"/>
                  <a:gd name="T73" fmla="*/ 2147483646 h 412"/>
                  <a:gd name="T74" fmla="*/ 2147483646 w 255"/>
                  <a:gd name="T75" fmla="*/ 2147483646 h 412"/>
                  <a:gd name="T76" fmla="*/ 2147483646 w 255"/>
                  <a:gd name="T77" fmla="*/ 2147483646 h 412"/>
                  <a:gd name="T78" fmla="*/ 2147483646 w 255"/>
                  <a:gd name="T79" fmla="*/ 2147483646 h 412"/>
                  <a:gd name="T80" fmla="*/ 2147483646 w 255"/>
                  <a:gd name="T81" fmla="*/ 2147483646 h 412"/>
                  <a:gd name="T82" fmla="*/ 2147483646 w 255"/>
                  <a:gd name="T83" fmla="*/ 2147483646 h 412"/>
                  <a:gd name="T84" fmla="*/ 2147483646 w 255"/>
                  <a:gd name="T85" fmla="*/ 2147483646 h 412"/>
                  <a:gd name="T86" fmla="*/ 2147483646 w 255"/>
                  <a:gd name="T87" fmla="*/ 2147483646 h 412"/>
                  <a:gd name="T88" fmla="*/ 2147483646 w 255"/>
                  <a:gd name="T89" fmla="*/ 2147483646 h 412"/>
                  <a:gd name="T90" fmla="*/ 2147483646 w 255"/>
                  <a:gd name="T91" fmla="*/ 2147483646 h 412"/>
                  <a:gd name="T92" fmla="*/ 2147483646 w 255"/>
                  <a:gd name="T93" fmla="*/ 2147483646 h 412"/>
                  <a:gd name="T94" fmla="*/ 2147483646 w 255"/>
                  <a:gd name="T95" fmla="*/ 2147483646 h 412"/>
                  <a:gd name="T96" fmla="*/ 2147483646 w 255"/>
                  <a:gd name="T97" fmla="*/ 2147483646 h 412"/>
                  <a:gd name="T98" fmla="*/ 2147483646 w 255"/>
                  <a:gd name="T99" fmla="*/ 2147483646 h 412"/>
                  <a:gd name="T100" fmla="*/ 0 w 255"/>
                  <a:gd name="T101" fmla="*/ 2147483646 h 412"/>
                  <a:gd name="T102" fmla="*/ 2147483646 w 255"/>
                  <a:gd name="T103" fmla="*/ 2147483646 h 412"/>
                  <a:gd name="T104" fmla="*/ 2147483646 w 255"/>
                  <a:gd name="T105" fmla="*/ 2147483646 h 412"/>
                  <a:gd name="T106" fmla="*/ 2147483646 w 255"/>
                  <a:gd name="T107" fmla="*/ 2147483646 h 412"/>
                  <a:gd name="T108" fmla="*/ 2147483646 w 255"/>
                  <a:gd name="T109" fmla="*/ 2147483646 h 412"/>
                  <a:gd name="T110" fmla="*/ 2147483646 w 255"/>
                  <a:gd name="T111" fmla="*/ 2147483646 h 41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55"/>
                  <a:gd name="T169" fmla="*/ 0 h 412"/>
                  <a:gd name="T170" fmla="*/ 255 w 255"/>
                  <a:gd name="T171" fmla="*/ 412 h 41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55" h="412">
                    <a:moveTo>
                      <a:pt x="169" y="344"/>
                    </a:moveTo>
                    <a:cubicBezTo>
                      <a:pt x="45" y="344"/>
                      <a:pt x="45" y="344"/>
                      <a:pt x="45" y="344"/>
                    </a:cubicBezTo>
                    <a:cubicBezTo>
                      <a:pt x="37" y="344"/>
                      <a:pt x="30" y="349"/>
                      <a:pt x="29" y="358"/>
                    </a:cubicBezTo>
                    <a:cubicBezTo>
                      <a:pt x="29" y="370"/>
                      <a:pt x="29" y="370"/>
                      <a:pt x="29" y="370"/>
                    </a:cubicBezTo>
                    <a:cubicBezTo>
                      <a:pt x="30" y="380"/>
                      <a:pt x="37" y="385"/>
                      <a:pt x="45" y="385"/>
                    </a:cubicBezTo>
                    <a:cubicBezTo>
                      <a:pt x="169" y="385"/>
                      <a:pt x="169" y="385"/>
                      <a:pt x="169" y="385"/>
                    </a:cubicBezTo>
                    <a:cubicBezTo>
                      <a:pt x="177" y="385"/>
                      <a:pt x="185" y="380"/>
                      <a:pt x="185" y="370"/>
                    </a:cubicBezTo>
                    <a:cubicBezTo>
                      <a:pt x="185" y="358"/>
                      <a:pt x="185" y="358"/>
                      <a:pt x="185" y="358"/>
                    </a:cubicBezTo>
                    <a:cubicBezTo>
                      <a:pt x="184" y="349"/>
                      <a:pt x="177" y="344"/>
                      <a:pt x="169" y="344"/>
                    </a:cubicBezTo>
                    <a:close/>
                    <a:moveTo>
                      <a:pt x="169" y="369"/>
                    </a:moveTo>
                    <a:cubicBezTo>
                      <a:pt x="45" y="369"/>
                      <a:pt x="45" y="369"/>
                      <a:pt x="45" y="369"/>
                    </a:cubicBezTo>
                    <a:cubicBezTo>
                      <a:pt x="45" y="369"/>
                      <a:pt x="45" y="369"/>
                      <a:pt x="45" y="369"/>
                    </a:cubicBezTo>
                    <a:cubicBezTo>
                      <a:pt x="45" y="360"/>
                      <a:pt x="45" y="360"/>
                      <a:pt x="45" y="360"/>
                    </a:cubicBezTo>
                    <a:cubicBezTo>
                      <a:pt x="45" y="360"/>
                      <a:pt x="45" y="360"/>
                      <a:pt x="45" y="360"/>
                    </a:cubicBezTo>
                    <a:cubicBezTo>
                      <a:pt x="169" y="360"/>
                      <a:pt x="169" y="360"/>
                      <a:pt x="169" y="360"/>
                    </a:cubicBezTo>
                    <a:lnTo>
                      <a:pt x="169" y="369"/>
                    </a:lnTo>
                    <a:close/>
                    <a:moveTo>
                      <a:pt x="185" y="306"/>
                    </a:moveTo>
                    <a:cubicBezTo>
                      <a:pt x="185" y="297"/>
                      <a:pt x="177" y="291"/>
                      <a:pt x="169" y="291"/>
                    </a:cubicBezTo>
                    <a:cubicBezTo>
                      <a:pt x="45" y="291"/>
                      <a:pt x="45" y="291"/>
                      <a:pt x="45" y="291"/>
                    </a:cubicBezTo>
                    <a:cubicBezTo>
                      <a:pt x="37" y="291"/>
                      <a:pt x="30" y="297"/>
                      <a:pt x="29" y="306"/>
                    </a:cubicBezTo>
                    <a:cubicBezTo>
                      <a:pt x="29" y="318"/>
                      <a:pt x="29" y="318"/>
                      <a:pt x="29" y="318"/>
                    </a:cubicBezTo>
                    <a:cubicBezTo>
                      <a:pt x="30" y="327"/>
                      <a:pt x="37" y="333"/>
                      <a:pt x="45" y="333"/>
                    </a:cubicBezTo>
                    <a:cubicBezTo>
                      <a:pt x="169" y="333"/>
                      <a:pt x="169" y="333"/>
                      <a:pt x="169" y="333"/>
                    </a:cubicBezTo>
                    <a:cubicBezTo>
                      <a:pt x="177" y="333"/>
                      <a:pt x="184" y="327"/>
                      <a:pt x="185" y="318"/>
                    </a:cubicBezTo>
                    <a:lnTo>
                      <a:pt x="185" y="306"/>
                    </a:lnTo>
                    <a:close/>
                    <a:moveTo>
                      <a:pt x="169" y="317"/>
                    </a:moveTo>
                    <a:cubicBezTo>
                      <a:pt x="45" y="317"/>
                      <a:pt x="45" y="317"/>
                      <a:pt x="45" y="317"/>
                    </a:cubicBezTo>
                    <a:cubicBezTo>
                      <a:pt x="45" y="317"/>
                      <a:pt x="45" y="317"/>
                      <a:pt x="45" y="317"/>
                    </a:cubicBezTo>
                    <a:cubicBezTo>
                      <a:pt x="45" y="307"/>
                      <a:pt x="45" y="307"/>
                      <a:pt x="45" y="307"/>
                    </a:cubicBezTo>
                    <a:cubicBezTo>
                      <a:pt x="45" y="307"/>
                      <a:pt x="45" y="307"/>
                      <a:pt x="45" y="307"/>
                    </a:cubicBezTo>
                    <a:cubicBezTo>
                      <a:pt x="169" y="307"/>
                      <a:pt x="169" y="307"/>
                      <a:pt x="169" y="307"/>
                    </a:cubicBezTo>
                    <a:lnTo>
                      <a:pt x="169" y="317"/>
                    </a:lnTo>
                    <a:close/>
                    <a:moveTo>
                      <a:pt x="185" y="253"/>
                    </a:moveTo>
                    <a:cubicBezTo>
                      <a:pt x="184" y="244"/>
                      <a:pt x="177" y="239"/>
                      <a:pt x="169" y="239"/>
                    </a:cubicBezTo>
                    <a:cubicBezTo>
                      <a:pt x="45" y="239"/>
                      <a:pt x="45" y="239"/>
                      <a:pt x="45" y="239"/>
                    </a:cubicBezTo>
                    <a:cubicBezTo>
                      <a:pt x="37" y="239"/>
                      <a:pt x="30" y="244"/>
                      <a:pt x="29" y="253"/>
                    </a:cubicBezTo>
                    <a:cubicBezTo>
                      <a:pt x="29" y="265"/>
                      <a:pt x="29" y="265"/>
                      <a:pt x="29" y="265"/>
                    </a:cubicBezTo>
                    <a:cubicBezTo>
                      <a:pt x="30" y="275"/>
                      <a:pt x="37" y="280"/>
                      <a:pt x="45" y="280"/>
                    </a:cubicBezTo>
                    <a:cubicBezTo>
                      <a:pt x="169" y="280"/>
                      <a:pt x="169" y="280"/>
                      <a:pt x="169" y="280"/>
                    </a:cubicBezTo>
                    <a:cubicBezTo>
                      <a:pt x="177" y="280"/>
                      <a:pt x="185" y="275"/>
                      <a:pt x="185" y="265"/>
                    </a:cubicBezTo>
                    <a:lnTo>
                      <a:pt x="185" y="253"/>
                    </a:lnTo>
                    <a:close/>
                    <a:moveTo>
                      <a:pt x="169" y="264"/>
                    </a:moveTo>
                    <a:cubicBezTo>
                      <a:pt x="45" y="264"/>
                      <a:pt x="45" y="264"/>
                      <a:pt x="45" y="264"/>
                    </a:cubicBezTo>
                    <a:cubicBezTo>
                      <a:pt x="45" y="264"/>
                      <a:pt x="45" y="264"/>
                      <a:pt x="45" y="264"/>
                    </a:cubicBezTo>
                    <a:cubicBezTo>
                      <a:pt x="45" y="255"/>
                      <a:pt x="45" y="255"/>
                      <a:pt x="45" y="255"/>
                    </a:cubicBezTo>
                    <a:cubicBezTo>
                      <a:pt x="45" y="255"/>
                      <a:pt x="45" y="255"/>
                      <a:pt x="45" y="255"/>
                    </a:cubicBezTo>
                    <a:cubicBezTo>
                      <a:pt x="169" y="255"/>
                      <a:pt x="169" y="255"/>
                      <a:pt x="169" y="255"/>
                    </a:cubicBezTo>
                    <a:lnTo>
                      <a:pt x="169" y="264"/>
                    </a:lnTo>
                    <a:close/>
                    <a:moveTo>
                      <a:pt x="185" y="201"/>
                    </a:moveTo>
                    <a:cubicBezTo>
                      <a:pt x="185" y="192"/>
                      <a:pt x="177" y="186"/>
                      <a:pt x="169" y="186"/>
                    </a:cubicBezTo>
                    <a:cubicBezTo>
                      <a:pt x="45" y="186"/>
                      <a:pt x="45" y="186"/>
                      <a:pt x="45" y="186"/>
                    </a:cubicBezTo>
                    <a:cubicBezTo>
                      <a:pt x="37" y="186"/>
                      <a:pt x="30" y="192"/>
                      <a:pt x="29" y="201"/>
                    </a:cubicBezTo>
                    <a:cubicBezTo>
                      <a:pt x="29" y="213"/>
                      <a:pt x="29" y="213"/>
                      <a:pt x="29" y="213"/>
                    </a:cubicBezTo>
                    <a:cubicBezTo>
                      <a:pt x="30" y="222"/>
                      <a:pt x="37" y="228"/>
                      <a:pt x="45" y="228"/>
                    </a:cubicBezTo>
                    <a:cubicBezTo>
                      <a:pt x="169" y="228"/>
                      <a:pt x="169" y="228"/>
                      <a:pt x="169" y="228"/>
                    </a:cubicBezTo>
                    <a:cubicBezTo>
                      <a:pt x="177" y="228"/>
                      <a:pt x="184" y="222"/>
                      <a:pt x="185" y="213"/>
                    </a:cubicBezTo>
                    <a:lnTo>
                      <a:pt x="185" y="201"/>
                    </a:lnTo>
                    <a:close/>
                    <a:moveTo>
                      <a:pt x="169" y="212"/>
                    </a:moveTo>
                    <a:cubicBezTo>
                      <a:pt x="45" y="212"/>
                      <a:pt x="45" y="212"/>
                      <a:pt x="45" y="212"/>
                    </a:cubicBezTo>
                    <a:cubicBezTo>
                      <a:pt x="45" y="212"/>
                      <a:pt x="45" y="212"/>
                      <a:pt x="45" y="212"/>
                    </a:cubicBezTo>
                    <a:cubicBezTo>
                      <a:pt x="45" y="202"/>
                      <a:pt x="45" y="202"/>
                      <a:pt x="45" y="202"/>
                    </a:cubicBezTo>
                    <a:cubicBezTo>
                      <a:pt x="45" y="202"/>
                      <a:pt x="45" y="202"/>
                      <a:pt x="45" y="202"/>
                    </a:cubicBezTo>
                    <a:cubicBezTo>
                      <a:pt x="169" y="202"/>
                      <a:pt x="169" y="202"/>
                      <a:pt x="169" y="202"/>
                    </a:cubicBezTo>
                    <a:lnTo>
                      <a:pt x="169" y="212"/>
                    </a:lnTo>
                    <a:close/>
                    <a:moveTo>
                      <a:pt x="185" y="148"/>
                    </a:moveTo>
                    <a:cubicBezTo>
                      <a:pt x="184" y="139"/>
                      <a:pt x="177" y="134"/>
                      <a:pt x="169" y="134"/>
                    </a:cubicBezTo>
                    <a:cubicBezTo>
                      <a:pt x="45" y="134"/>
                      <a:pt x="45" y="134"/>
                      <a:pt x="45" y="134"/>
                    </a:cubicBezTo>
                    <a:cubicBezTo>
                      <a:pt x="37" y="134"/>
                      <a:pt x="30" y="139"/>
                      <a:pt x="29" y="148"/>
                    </a:cubicBezTo>
                    <a:cubicBezTo>
                      <a:pt x="29" y="161"/>
                      <a:pt x="29" y="161"/>
                      <a:pt x="29" y="161"/>
                    </a:cubicBezTo>
                    <a:cubicBezTo>
                      <a:pt x="30" y="170"/>
                      <a:pt x="37" y="175"/>
                      <a:pt x="45" y="175"/>
                    </a:cubicBezTo>
                    <a:cubicBezTo>
                      <a:pt x="169" y="175"/>
                      <a:pt x="169" y="175"/>
                      <a:pt x="169" y="175"/>
                    </a:cubicBezTo>
                    <a:cubicBezTo>
                      <a:pt x="177" y="175"/>
                      <a:pt x="185" y="170"/>
                      <a:pt x="185" y="161"/>
                    </a:cubicBezTo>
                    <a:lnTo>
                      <a:pt x="185" y="148"/>
                    </a:lnTo>
                    <a:close/>
                    <a:moveTo>
                      <a:pt x="169" y="159"/>
                    </a:moveTo>
                    <a:cubicBezTo>
                      <a:pt x="45" y="159"/>
                      <a:pt x="45" y="159"/>
                      <a:pt x="45" y="159"/>
                    </a:cubicBezTo>
                    <a:cubicBezTo>
                      <a:pt x="45" y="159"/>
                      <a:pt x="45" y="159"/>
                      <a:pt x="45" y="159"/>
                    </a:cubicBezTo>
                    <a:cubicBezTo>
                      <a:pt x="45" y="150"/>
                      <a:pt x="45" y="150"/>
                      <a:pt x="45" y="150"/>
                    </a:cubicBezTo>
                    <a:cubicBezTo>
                      <a:pt x="45" y="150"/>
                      <a:pt x="45" y="150"/>
                      <a:pt x="45" y="150"/>
                    </a:cubicBezTo>
                    <a:cubicBezTo>
                      <a:pt x="169" y="150"/>
                      <a:pt x="169" y="150"/>
                      <a:pt x="169" y="150"/>
                    </a:cubicBezTo>
                    <a:lnTo>
                      <a:pt x="169" y="159"/>
                    </a:lnTo>
                    <a:close/>
                    <a:moveTo>
                      <a:pt x="185" y="96"/>
                    </a:moveTo>
                    <a:cubicBezTo>
                      <a:pt x="185" y="87"/>
                      <a:pt x="177" y="81"/>
                      <a:pt x="169" y="81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37" y="81"/>
                      <a:pt x="30" y="87"/>
                      <a:pt x="29" y="96"/>
                    </a:cubicBezTo>
                    <a:cubicBezTo>
                      <a:pt x="29" y="108"/>
                      <a:pt x="29" y="108"/>
                      <a:pt x="29" y="108"/>
                    </a:cubicBezTo>
                    <a:cubicBezTo>
                      <a:pt x="30" y="117"/>
                      <a:pt x="37" y="123"/>
                      <a:pt x="45" y="123"/>
                    </a:cubicBezTo>
                    <a:cubicBezTo>
                      <a:pt x="169" y="123"/>
                      <a:pt x="169" y="123"/>
                      <a:pt x="169" y="123"/>
                    </a:cubicBezTo>
                    <a:cubicBezTo>
                      <a:pt x="177" y="123"/>
                      <a:pt x="184" y="117"/>
                      <a:pt x="185" y="108"/>
                    </a:cubicBezTo>
                    <a:lnTo>
                      <a:pt x="185" y="96"/>
                    </a:lnTo>
                    <a:close/>
                    <a:moveTo>
                      <a:pt x="169" y="107"/>
                    </a:moveTo>
                    <a:cubicBezTo>
                      <a:pt x="45" y="107"/>
                      <a:pt x="45" y="107"/>
                      <a:pt x="45" y="107"/>
                    </a:cubicBezTo>
                    <a:cubicBezTo>
                      <a:pt x="45" y="107"/>
                      <a:pt x="45" y="107"/>
                      <a:pt x="45" y="107"/>
                    </a:cubicBezTo>
                    <a:cubicBezTo>
                      <a:pt x="45" y="97"/>
                      <a:pt x="45" y="97"/>
                      <a:pt x="45" y="97"/>
                    </a:cubicBezTo>
                    <a:cubicBezTo>
                      <a:pt x="45" y="97"/>
                      <a:pt x="45" y="97"/>
                      <a:pt x="45" y="97"/>
                    </a:cubicBezTo>
                    <a:cubicBezTo>
                      <a:pt x="169" y="97"/>
                      <a:pt x="169" y="97"/>
                      <a:pt x="169" y="97"/>
                    </a:cubicBezTo>
                    <a:lnTo>
                      <a:pt x="169" y="107"/>
                    </a:lnTo>
                    <a:close/>
                    <a:moveTo>
                      <a:pt x="185" y="44"/>
                    </a:moveTo>
                    <a:cubicBezTo>
                      <a:pt x="184" y="34"/>
                      <a:pt x="177" y="29"/>
                      <a:pt x="169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37" y="29"/>
                      <a:pt x="30" y="34"/>
                      <a:pt x="29" y="44"/>
                    </a:cubicBezTo>
                    <a:cubicBezTo>
                      <a:pt x="29" y="56"/>
                      <a:pt x="29" y="56"/>
                      <a:pt x="29" y="56"/>
                    </a:cubicBezTo>
                    <a:cubicBezTo>
                      <a:pt x="30" y="65"/>
                      <a:pt x="37" y="70"/>
                      <a:pt x="45" y="70"/>
                    </a:cubicBezTo>
                    <a:cubicBezTo>
                      <a:pt x="169" y="70"/>
                      <a:pt x="169" y="70"/>
                      <a:pt x="169" y="70"/>
                    </a:cubicBezTo>
                    <a:cubicBezTo>
                      <a:pt x="177" y="70"/>
                      <a:pt x="185" y="65"/>
                      <a:pt x="185" y="56"/>
                    </a:cubicBezTo>
                    <a:lnTo>
                      <a:pt x="185" y="44"/>
                    </a:lnTo>
                    <a:close/>
                    <a:moveTo>
                      <a:pt x="169" y="54"/>
                    </a:move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169" y="45"/>
                      <a:pt x="169" y="45"/>
                      <a:pt x="169" y="45"/>
                    </a:cubicBezTo>
                    <a:lnTo>
                      <a:pt x="169" y="54"/>
                    </a:lnTo>
                    <a:close/>
                    <a:moveTo>
                      <a:pt x="212" y="88"/>
                    </a:moveTo>
                    <a:cubicBezTo>
                      <a:pt x="204" y="88"/>
                      <a:pt x="198" y="94"/>
                      <a:pt x="198" y="102"/>
                    </a:cubicBezTo>
                    <a:cubicBezTo>
                      <a:pt x="198" y="110"/>
                      <a:pt x="204" y="116"/>
                      <a:pt x="212" y="116"/>
                    </a:cubicBezTo>
                    <a:cubicBezTo>
                      <a:pt x="220" y="116"/>
                      <a:pt x="226" y="110"/>
                      <a:pt x="226" y="102"/>
                    </a:cubicBezTo>
                    <a:cubicBezTo>
                      <a:pt x="226" y="94"/>
                      <a:pt x="220" y="88"/>
                      <a:pt x="212" y="88"/>
                    </a:cubicBezTo>
                    <a:close/>
                    <a:moveTo>
                      <a:pt x="212" y="35"/>
                    </a:moveTo>
                    <a:cubicBezTo>
                      <a:pt x="204" y="35"/>
                      <a:pt x="198" y="42"/>
                      <a:pt x="198" y="50"/>
                    </a:cubicBezTo>
                    <a:cubicBezTo>
                      <a:pt x="198" y="57"/>
                      <a:pt x="204" y="64"/>
                      <a:pt x="212" y="64"/>
                    </a:cubicBezTo>
                    <a:cubicBezTo>
                      <a:pt x="220" y="64"/>
                      <a:pt x="226" y="57"/>
                      <a:pt x="226" y="50"/>
                    </a:cubicBezTo>
                    <a:cubicBezTo>
                      <a:pt x="226" y="42"/>
                      <a:pt x="220" y="35"/>
                      <a:pt x="212" y="35"/>
                    </a:cubicBezTo>
                    <a:close/>
                    <a:moveTo>
                      <a:pt x="212" y="140"/>
                    </a:moveTo>
                    <a:cubicBezTo>
                      <a:pt x="204" y="140"/>
                      <a:pt x="198" y="147"/>
                      <a:pt x="198" y="155"/>
                    </a:cubicBezTo>
                    <a:cubicBezTo>
                      <a:pt x="198" y="162"/>
                      <a:pt x="204" y="169"/>
                      <a:pt x="212" y="169"/>
                    </a:cubicBezTo>
                    <a:cubicBezTo>
                      <a:pt x="220" y="169"/>
                      <a:pt x="226" y="162"/>
                      <a:pt x="226" y="155"/>
                    </a:cubicBezTo>
                    <a:cubicBezTo>
                      <a:pt x="226" y="147"/>
                      <a:pt x="220" y="140"/>
                      <a:pt x="212" y="140"/>
                    </a:cubicBezTo>
                    <a:close/>
                    <a:moveTo>
                      <a:pt x="212" y="193"/>
                    </a:moveTo>
                    <a:cubicBezTo>
                      <a:pt x="204" y="193"/>
                      <a:pt x="198" y="199"/>
                      <a:pt x="198" y="207"/>
                    </a:cubicBezTo>
                    <a:cubicBezTo>
                      <a:pt x="198" y="215"/>
                      <a:pt x="204" y="221"/>
                      <a:pt x="212" y="221"/>
                    </a:cubicBezTo>
                    <a:cubicBezTo>
                      <a:pt x="220" y="221"/>
                      <a:pt x="226" y="215"/>
                      <a:pt x="226" y="207"/>
                    </a:cubicBezTo>
                    <a:cubicBezTo>
                      <a:pt x="226" y="199"/>
                      <a:pt x="220" y="193"/>
                      <a:pt x="212" y="193"/>
                    </a:cubicBezTo>
                    <a:close/>
                    <a:moveTo>
                      <a:pt x="212" y="245"/>
                    </a:moveTo>
                    <a:cubicBezTo>
                      <a:pt x="204" y="245"/>
                      <a:pt x="198" y="252"/>
                      <a:pt x="198" y="259"/>
                    </a:cubicBezTo>
                    <a:cubicBezTo>
                      <a:pt x="198" y="267"/>
                      <a:pt x="204" y="274"/>
                      <a:pt x="212" y="274"/>
                    </a:cubicBezTo>
                    <a:cubicBezTo>
                      <a:pt x="220" y="274"/>
                      <a:pt x="226" y="267"/>
                      <a:pt x="226" y="259"/>
                    </a:cubicBezTo>
                    <a:cubicBezTo>
                      <a:pt x="226" y="252"/>
                      <a:pt x="220" y="245"/>
                      <a:pt x="212" y="245"/>
                    </a:cubicBezTo>
                    <a:close/>
                    <a:moveTo>
                      <a:pt x="212" y="298"/>
                    </a:moveTo>
                    <a:cubicBezTo>
                      <a:pt x="204" y="298"/>
                      <a:pt x="198" y="304"/>
                      <a:pt x="198" y="312"/>
                    </a:cubicBezTo>
                    <a:cubicBezTo>
                      <a:pt x="198" y="320"/>
                      <a:pt x="204" y="326"/>
                      <a:pt x="212" y="326"/>
                    </a:cubicBezTo>
                    <a:cubicBezTo>
                      <a:pt x="220" y="326"/>
                      <a:pt x="226" y="320"/>
                      <a:pt x="226" y="312"/>
                    </a:cubicBezTo>
                    <a:cubicBezTo>
                      <a:pt x="226" y="304"/>
                      <a:pt x="220" y="298"/>
                      <a:pt x="212" y="298"/>
                    </a:cubicBezTo>
                    <a:close/>
                    <a:moveTo>
                      <a:pt x="212" y="350"/>
                    </a:moveTo>
                    <a:cubicBezTo>
                      <a:pt x="204" y="350"/>
                      <a:pt x="198" y="356"/>
                      <a:pt x="198" y="364"/>
                    </a:cubicBezTo>
                    <a:cubicBezTo>
                      <a:pt x="198" y="372"/>
                      <a:pt x="204" y="379"/>
                      <a:pt x="212" y="379"/>
                    </a:cubicBezTo>
                    <a:cubicBezTo>
                      <a:pt x="220" y="379"/>
                      <a:pt x="226" y="372"/>
                      <a:pt x="226" y="364"/>
                    </a:cubicBezTo>
                    <a:cubicBezTo>
                      <a:pt x="226" y="356"/>
                      <a:pt x="220" y="350"/>
                      <a:pt x="212" y="350"/>
                    </a:cubicBezTo>
                    <a:close/>
                    <a:moveTo>
                      <a:pt x="247" y="44"/>
                    </a:moveTo>
                    <a:cubicBezTo>
                      <a:pt x="251" y="44"/>
                      <a:pt x="255" y="41"/>
                      <a:pt x="255" y="36"/>
                    </a:cubicBezTo>
                    <a:cubicBezTo>
                      <a:pt x="255" y="16"/>
                      <a:pt x="255" y="16"/>
                      <a:pt x="255" y="16"/>
                    </a:cubicBezTo>
                    <a:cubicBezTo>
                      <a:pt x="255" y="7"/>
                      <a:pt x="248" y="0"/>
                      <a:pt x="23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96"/>
                      <a:pt x="0" y="396"/>
                      <a:pt x="0" y="396"/>
                    </a:cubicBezTo>
                    <a:cubicBezTo>
                      <a:pt x="0" y="405"/>
                      <a:pt x="7" y="412"/>
                      <a:pt x="16" y="412"/>
                    </a:cubicBezTo>
                    <a:cubicBezTo>
                      <a:pt x="239" y="412"/>
                      <a:pt x="239" y="412"/>
                      <a:pt x="239" y="412"/>
                    </a:cubicBezTo>
                    <a:cubicBezTo>
                      <a:pt x="248" y="412"/>
                      <a:pt x="255" y="405"/>
                      <a:pt x="255" y="396"/>
                    </a:cubicBezTo>
                    <a:cubicBezTo>
                      <a:pt x="255" y="60"/>
                      <a:pt x="255" y="60"/>
                      <a:pt x="255" y="60"/>
                    </a:cubicBezTo>
                    <a:cubicBezTo>
                      <a:pt x="255" y="56"/>
                      <a:pt x="251" y="52"/>
                      <a:pt x="247" y="52"/>
                    </a:cubicBezTo>
                    <a:cubicBezTo>
                      <a:pt x="242" y="52"/>
                      <a:pt x="239" y="56"/>
                      <a:pt x="239" y="60"/>
                    </a:cubicBezTo>
                    <a:cubicBezTo>
                      <a:pt x="239" y="396"/>
                      <a:pt x="239" y="396"/>
                      <a:pt x="239" y="396"/>
                    </a:cubicBezTo>
                    <a:cubicBezTo>
                      <a:pt x="16" y="396"/>
                      <a:pt x="16" y="396"/>
                      <a:pt x="16" y="396"/>
                    </a:cubicBezTo>
                    <a:cubicBezTo>
                      <a:pt x="16" y="396"/>
                      <a:pt x="16" y="396"/>
                      <a:pt x="16" y="39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239" y="16"/>
                      <a:pt x="239" y="16"/>
                      <a:pt x="239" y="16"/>
                    </a:cubicBezTo>
                    <a:cubicBezTo>
                      <a:pt x="239" y="36"/>
                      <a:pt x="239" y="36"/>
                      <a:pt x="239" y="36"/>
                    </a:cubicBezTo>
                    <a:cubicBezTo>
                      <a:pt x="239" y="41"/>
                      <a:pt x="242" y="44"/>
                      <a:pt x="247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37" name="Freeform 61"/>
              <p:cNvSpPr>
                <a:spLocks noChangeAspect="1" noEditPoints="1"/>
              </p:cNvSpPr>
              <p:nvPr/>
            </p:nvSpPr>
            <p:spPr bwMode="auto">
              <a:xfrm>
                <a:off x="7297168" y="5929955"/>
                <a:ext cx="459044" cy="743010"/>
              </a:xfrm>
              <a:custGeom>
                <a:avLst/>
                <a:gdLst>
                  <a:gd name="T0" fmla="*/ 2147483646 w 255"/>
                  <a:gd name="T1" fmla="*/ 2147483646 h 412"/>
                  <a:gd name="T2" fmla="*/ 2147483646 w 255"/>
                  <a:gd name="T3" fmla="*/ 2147483646 h 412"/>
                  <a:gd name="T4" fmla="*/ 2147483646 w 255"/>
                  <a:gd name="T5" fmla="*/ 2147483646 h 412"/>
                  <a:gd name="T6" fmla="*/ 2147483646 w 255"/>
                  <a:gd name="T7" fmla="*/ 2147483646 h 412"/>
                  <a:gd name="T8" fmla="*/ 2147483646 w 255"/>
                  <a:gd name="T9" fmla="*/ 2147483646 h 412"/>
                  <a:gd name="T10" fmla="*/ 2147483646 w 255"/>
                  <a:gd name="T11" fmla="*/ 2147483646 h 412"/>
                  <a:gd name="T12" fmla="*/ 2147483646 w 255"/>
                  <a:gd name="T13" fmla="*/ 2147483646 h 412"/>
                  <a:gd name="T14" fmla="*/ 2147483646 w 255"/>
                  <a:gd name="T15" fmla="*/ 2147483646 h 412"/>
                  <a:gd name="T16" fmla="*/ 2147483646 w 255"/>
                  <a:gd name="T17" fmla="*/ 2147483646 h 412"/>
                  <a:gd name="T18" fmla="*/ 2147483646 w 255"/>
                  <a:gd name="T19" fmla="*/ 2147483646 h 412"/>
                  <a:gd name="T20" fmla="*/ 2147483646 w 255"/>
                  <a:gd name="T21" fmla="*/ 2147483646 h 412"/>
                  <a:gd name="T22" fmla="*/ 2147483646 w 255"/>
                  <a:gd name="T23" fmla="*/ 2147483646 h 412"/>
                  <a:gd name="T24" fmla="*/ 2147483646 w 255"/>
                  <a:gd name="T25" fmla="*/ 2147483646 h 412"/>
                  <a:gd name="T26" fmla="*/ 2147483646 w 255"/>
                  <a:gd name="T27" fmla="*/ 2147483646 h 412"/>
                  <a:gd name="T28" fmla="*/ 2147483646 w 255"/>
                  <a:gd name="T29" fmla="*/ 2147483646 h 412"/>
                  <a:gd name="T30" fmla="*/ 2147483646 w 255"/>
                  <a:gd name="T31" fmla="*/ 2147483646 h 412"/>
                  <a:gd name="T32" fmla="*/ 2147483646 w 255"/>
                  <a:gd name="T33" fmla="*/ 2147483646 h 412"/>
                  <a:gd name="T34" fmla="*/ 2147483646 w 255"/>
                  <a:gd name="T35" fmla="*/ 2147483646 h 412"/>
                  <a:gd name="T36" fmla="*/ 2147483646 w 255"/>
                  <a:gd name="T37" fmla="*/ 2147483646 h 412"/>
                  <a:gd name="T38" fmla="*/ 2147483646 w 255"/>
                  <a:gd name="T39" fmla="*/ 2147483646 h 412"/>
                  <a:gd name="T40" fmla="*/ 2147483646 w 255"/>
                  <a:gd name="T41" fmla="*/ 2147483646 h 412"/>
                  <a:gd name="T42" fmla="*/ 2147483646 w 255"/>
                  <a:gd name="T43" fmla="*/ 2147483646 h 412"/>
                  <a:gd name="T44" fmla="*/ 2147483646 w 255"/>
                  <a:gd name="T45" fmla="*/ 2147483646 h 412"/>
                  <a:gd name="T46" fmla="*/ 2147483646 w 255"/>
                  <a:gd name="T47" fmla="*/ 2147483646 h 412"/>
                  <a:gd name="T48" fmla="*/ 2147483646 w 255"/>
                  <a:gd name="T49" fmla="*/ 2147483646 h 412"/>
                  <a:gd name="T50" fmla="*/ 2147483646 w 255"/>
                  <a:gd name="T51" fmla="*/ 2147483646 h 412"/>
                  <a:gd name="T52" fmla="*/ 2147483646 w 255"/>
                  <a:gd name="T53" fmla="*/ 2147483646 h 412"/>
                  <a:gd name="T54" fmla="*/ 2147483646 w 255"/>
                  <a:gd name="T55" fmla="*/ 2147483646 h 412"/>
                  <a:gd name="T56" fmla="*/ 2147483646 w 255"/>
                  <a:gd name="T57" fmla="*/ 2147483646 h 412"/>
                  <a:gd name="T58" fmla="*/ 2147483646 w 255"/>
                  <a:gd name="T59" fmla="*/ 2147483646 h 412"/>
                  <a:gd name="T60" fmla="*/ 2147483646 w 255"/>
                  <a:gd name="T61" fmla="*/ 2147483646 h 412"/>
                  <a:gd name="T62" fmla="*/ 2147483646 w 255"/>
                  <a:gd name="T63" fmla="*/ 2147483646 h 412"/>
                  <a:gd name="T64" fmla="*/ 2147483646 w 255"/>
                  <a:gd name="T65" fmla="*/ 2147483646 h 412"/>
                  <a:gd name="T66" fmla="*/ 2147483646 w 255"/>
                  <a:gd name="T67" fmla="*/ 2147483646 h 412"/>
                  <a:gd name="T68" fmla="*/ 2147483646 w 255"/>
                  <a:gd name="T69" fmla="*/ 2147483646 h 412"/>
                  <a:gd name="T70" fmla="*/ 2147483646 w 255"/>
                  <a:gd name="T71" fmla="*/ 2147483646 h 412"/>
                  <a:gd name="T72" fmla="*/ 2147483646 w 255"/>
                  <a:gd name="T73" fmla="*/ 2147483646 h 412"/>
                  <a:gd name="T74" fmla="*/ 2147483646 w 255"/>
                  <a:gd name="T75" fmla="*/ 2147483646 h 412"/>
                  <a:gd name="T76" fmla="*/ 2147483646 w 255"/>
                  <a:gd name="T77" fmla="*/ 2147483646 h 412"/>
                  <a:gd name="T78" fmla="*/ 2147483646 w 255"/>
                  <a:gd name="T79" fmla="*/ 2147483646 h 412"/>
                  <a:gd name="T80" fmla="*/ 2147483646 w 255"/>
                  <a:gd name="T81" fmla="*/ 2147483646 h 412"/>
                  <a:gd name="T82" fmla="*/ 2147483646 w 255"/>
                  <a:gd name="T83" fmla="*/ 2147483646 h 412"/>
                  <a:gd name="T84" fmla="*/ 2147483646 w 255"/>
                  <a:gd name="T85" fmla="*/ 2147483646 h 412"/>
                  <a:gd name="T86" fmla="*/ 2147483646 w 255"/>
                  <a:gd name="T87" fmla="*/ 2147483646 h 412"/>
                  <a:gd name="T88" fmla="*/ 2147483646 w 255"/>
                  <a:gd name="T89" fmla="*/ 2147483646 h 412"/>
                  <a:gd name="T90" fmla="*/ 2147483646 w 255"/>
                  <a:gd name="T91" fmla="*/ 2147483646 h 412"/>
                  <a:gd name="T92" fmla="*/ 2147483646 w 255"/>
                  <a:gd name="T93" fmla="*/ 2147483646 h 412"/>
                  <a:gd name="T94" fmla="*/ 2147483646 w 255"/>
                  <a:gd name="T95" fmla="*/ 2147483646 h 412"/>
                  <a:gd name="T96" fmla="*/ 2147483646 w 255"/>
                  <a:gd name="T97" fmla="*/ 2147483646 h 412"/>
                  <a:gd name="T98" fmla="*/ 2147483646 w 255"/>
                  <a:gd name="T99" fmla="*/ 2147483646 h 412"/>
                  <a:gd name="T100" fmla="*/ 0 w 255"/>
                  <a:gd name="T101" fmla="*/ 2147483646 h 412"/>
                  <a:gd name="T102" fmla="*/ 2147483646 w 255"/>
                  <a:gd name="T103" fmla="*/ 2147483646 h 412"/>
                  <a:gd name="T104" fmla="*/ 2147483646 w 255"/>
                  <a:gd name="T105" fmla="*/ 2147483646 h 412"/>
                  <a:gd name="T106" fmla="*/ 2147483646 w 255"/>
                  <a:gd name="T107" fmla="*/ 2147483646 h 412"/>
                  <a:gd name="T108" fmla="*/ 2147483646 w 255"/>
                  <a:gd name="T109" fmla="*/ 2147483646 h 412"/>
                  <a:gd name="T110" fmla="*/ 2147483646 w 255"/>
                  <a:gd name="T111" fmla="*/ 2147483646 h 41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55"/>
                  <a:gd name="T169" fmla="*/ 0 h 412"/>
                  <a:gd name="T170" fmla="*/ 255 w 255"/>
                  <a:gd name="T171" fmla="*/ 412 h 41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55" h="412">
                    <a:moveTo>
                      <a:pt x="169" y="344"/>
                    </a:moveTo>
                    <a:cubicBezTo>
                      <a:pt x="45" y="344"/>
                      <a:pt x="45" y="344"/>
                      <a:pt x="45" y="344"/>
                    </a:cubicBezTo>
                    <a:cubicBezTo>
                      <a:pt x="37" y="344"/>
                      <a:pt x="30" y="349"/>
                      <a:pt x="29" y="358"/>
                    </a:cubicBezTo>
                    <a:cubicBezTo>
                      <a:pt x="29" y="370"/>
                      <a:pt x="29" y="370"/>
                      <a:pt x="29" y="370"/>
                    </a:cubicBezTo>
                    <a:cubicBezTo>
                      <a:pt x="30" y="380"/>
                      <a:pt x="37" y="385"/>
                      <a:pt x="45" y="385"/>
                    </a:cubicBezTo>
                    <a:cubicBezTo>
                      <a:pt x="169" y="385"/>
                      <a:pt x="169" y="385"/>
                      <a:pt x="169" y="385"/>
                    </a:cubicBezTo>
                    <a:cubicBezTo>
                      <a:pt x="177" y="385"/>
                      <a:pt x="185" y="380"/>
                      <a:pt x="185" y="370"/>
                    </a:cubicBezTo>
                    <a:cubicBezTo>
                      <a:pt x="185" y="358"/>
                      <a:pt x="185" y="358"/>
                      <a:pt x="185" y="358"/>
                    </a:cubicBezTo>
                    <a:cubicBezTo>
                      <a:pt x="184" y="349"/>
                      <a:pt x="177" y="344"/>
                      <a:pt x="169" y="344"/>
                    </a:cubicBezTo>
                    <a:close/>
                    <a:moveTo>
                      <a:pt x="169" y="369"/>
                    </a:moveTo>
                    <a:cubicBezTo>
                      <a:pt x="45" y="369"/>
                      <a:pt x="45" y="369"/>
                      <a:pt x="45" y="369"/>
                    </a:cubicBezTo>
                    <a:cubicBezTo>
                      <a:pt x="45" y="369"/>
                      <a:pt x="45" y="369"/>
                      <a:pt x="45" y="369"/>
                    </a:cubicBezTo>
                    <a:cubicBezTo>
                      <a:pt x="45" y="360"/>
                      <a:pt x="45" y="360"/>
                      <a:pt x="45" y="360"/>
                    </a:cubicBezTo>
                    <a:cubicBezTo>
                      <a:pt x="45" y="360"/>
                      <a:pt x="45" y="360"/>
                      <a:pt x="45" y="360"/>
                    </a:cubicBezTo>
                    <a:cubicBezTo>
                      <a:pt x="169" y="360"/>
                      <a:pt x="169" y="360"/>
                      <a:pt x="169" y="360"/>
                    </a:cubicBezTo>
                    <a:lnTo>
                      <a:pt x="169" y="369"/>
                    </a:lnTo>
                    <a:close/>
                    <a:moveTo>
                      <a:pt x="185" y="306"/>
                    </a:moveTo>
                    <a:cubicBezTo>
                      <a:pt x="185" y="297"/>
                      <a:pt x="177" y="291"/>
                      <a:pt x="169" y="291"/>
                    </a:cubicBezTo>
                    <a:cubicBezTo>
                      <a:pt x="45" y="291"/>
                      <a:pt x="45" y="291"/>
                      <a:pt x="45" y="291"/>
                    </a:cubicBezTo>
                    <a:cubicBezTo>
                      <a:pt x="37" y="291"/>
                      <a:pt x="30" y="297"/>
                      <a:pt x="29" y="306"/>
                    </a:cubicBezTo>
                    <a:cubicBezTo>
                      <a:pt x="29" y="318"/>
                      <a:pt x="29" y="318"/>
                      <a:pt x="29" y="318"/>
                    </a:cubicBezTo>
                    <a:cubicBezTo>
                      <a:pt x="30" y="327"/>
                      <a:pt x="37" y="333"/>
                      <a:pt x="45" y="333"/>
                    </a:cubicBezTo>
                    <a:cubicBezTo>
                      <a:pt x="169" y="333"/>
                      <a:pt x="169" y="333"/>
                      <a:pt x="169" y="333"/>
                    </a:cubicBezTo>
                    <a:cubicBezTo>
                      <a:pt x="177" y="333"/>
                      <a:pt x="184" y="327"/>
                      <a:pt x="185" y="318"/>
                    </a:cubicBezTo>
                    <a:lnTo>
                      <a:pt x="185" y="306"/>
                    </a:lnTo>
                    <a:close/>
                    <a:moveTo>
                      <a:pt x="169" y="317"/>
                    </a:moveTo>
                    <a:cubicBezTo>
                      <a:pt x="45" y="317"/>
                      <a:pt x="45" y="317"/>
                      <a:pt x="45" y="317"/>
                    </a:cubicBezTo>
                    <a:cubicBezTo>
                      <a:pt x="45" y="317"/>
                      <a:pt x="45" y="317"/>
                      <a:pt x="45" y="317"/>
                    </a:cubicBezTo>
                    <a:cubicBezTo>
                      <a:pt x="45" y="307"/>
                      <a:pt x="45" y="307"/>
                      <a:pt x="45" y="307"/>
                    </a:cubicBezTo>
                    <a:cubicBezTo>
                      <a:pt x="45" y="307"/>
                      <a:pt x="45" y="307"/>
                      <a:pt x="45" y="307"/>
                    </a:cubicBezTo>
                    <a:cubicBezTo>
                      <a:pt x="169" y="307"/>
                      <a:pt x="169" y="307"/>
                      <a:pt x="169" y="307"/>
                    </a:cubicBezTo>
                    <a:lnTo>
                      <a:pt x="169" y="317"/>
                    </a:lnTo>
                    <a:close/>
                    <a:moveTo>
                      <a:pt x="185" y="253"/>
                    </a:moveTo>
                    <a:cubicBezTo>
                      <a:pt x="184" y="244"/>
                      <a:pt x="177" y="239"/>
                      <a:pt x="169" y="239"/>
                    </a:cubicBezTo>
                    <a:cubicBezTo>
                      <a:pt x="45" y="239"/>
                      <a:pt x="45" y="239"/>
                      <a:pt x="45" y="239"/>
                    </a:cubicBezTo>
                    <a:cubicBezTo>
                      <a:pt x="37" y="239"/>
                      <a:pt x="30" y="244"/>
                      <a:pt x="29" y="253"/>
                    </a:cubicBezTo>
                    <a:cubicBezTo>
                      <a:pt x="29" y="265"/>
                      <a:pt x="29" y="265"/>
                      <a:pt x="29" y="265"/>
                    </a:cubicBezTo>
                    <a:cubicBezTo>
                      <a:pt x="30" y="275"/>
                      <a:pt x="37" y="280"/>
                      <a:pt x="45" y="280"/>
                    </a:cubicBezTo>
                    <a:cubicBezTo>
                      <a:pt x="169" y="280"/>
                      <a:pt x="169" y="280"/>
                      <a:pt x="169" y="280"/>
                    </a:cubicBezTo>
                    <a:cubicBezTo>
                      <a:pt x="177" y="280"/>
                      <a:pt x="185" y="275"/>
                      <a:pt x="185" y="265"/>
                    </a:cubicBezTo>
                    <a:lnTo>
                      <a:pt x="185" y="253"/>
                    </a:lnTo>
                    <a:close/>
                    <a:moveTo>
                      <a:pt x="169" y="264"/>
                    </a:moveTo>
                    <a:cubicBezTo>
                      <a:pt x="45" y="264"/>
                      <a:pt x="45" y="264"/>
                      <a:pt x="45" y="264"/>
                    </a:cubicBezTo>
                    <a:cubicBezTo>
                      <a:pt x="45" y="264"/>
                      <a:pt x="45" y="264"/>
                      <a:pt x="45" y="264"/>
                    </a:cubicBezTo>
                    <a:cubicBezTo>
                      <a:pt x="45" y="255"/>
                      <a:pt x="45" y="255"/>
                      <a:pt x="45" y="255"/>
                    </a:cubicBezTo>
                    <a:cubicBezTo>
                      <a:pt x="45" y="255"/>
                      <a:pt x="45" y="255"/>
                      <a:pt x="45" y="255"/>
                    </a:cubicBezTo>
                    <a:cubicBezTo>
                      <a:pt x="169" y="255"/>
                      <a:pt x="169" y="255"/>
                      <a:pt x="169" y="255"/>
                    </a:cubicBezTo>
                    <a:lnTo>
                      <a:pt x="169" y="264"/>
                    </a:lnTo>
                    <a:close/>
                    <a:moveTo>
                      <a:pt x="185" y="201"/>
                    </a:moveTo>
                    <a:cubicBezTo>
                      <a:pt x="185" y="192"/>
                      <a:pt x="177" y="186"/>
                      <a:pt x="169" y="186"/>
                    </a:cubicBezTo>
                    <a:cubicBezTo>
                      <a:pt x="45" y="186"/>
                      <a:pt x="45" y="186"/>
                      <a:pt x="45" y="186"/>
                    </a:cubicBezTo>
                    <a:cubicBezTo>
                      <a:pt x="37" y="186"/>
                      <a:pt x="30" y="192"/>
                      <a:pt x="29" y="201"/>
                    </a:cubicBezTo>
                    <a:cubicBezTo>
                      <a:pt x="29" y="213"/>
                      <a:pt x="29" y="213"/>
                      <a:pt x="29" y="213"/>
                    </a:cubicBezTo>
                    <a:cubicBezTo>
                      <a:pt x="30" y="222"/>
                      <a:pt x="37" y="228"/>
                      <a:pt x="45" y="228"/>
                    </a:cubicBezTo>
                    <a:cubicBezTo>
                      <a:pt x="169" y="228"/>
                      <a:pt x="169" y="228"/>
                      <a:pt x="169" y="228"/>
                    </a:cubicBezTo>
                    <a:cubicBezTo>
                      <a:pt x="177" y="228"/>
                      <a:pt x="184" y="222"/>
                      <a:pt x="185" y="213"/>
                    </a:cubicBezTo>
                    <a:lnTo>
                      <a:pt x="185" y="201"/>
                    </a:lnTo>
                    <a:close/>
                    <a:moveTo>
                      <a:pt x="169" y="212"/>
                    </a:moveTo>
                    <a:cubicBezTo>
                      <a:pt x="45" y="212"/>
                      <a:pt x="45" y="212"/>
                      <a:pt x="45" y="212"/>
                    </a:cubicBezTo>
                    <a:cubicBezTo>
                      <a:pt x="45" y="212"/>
                      <a:pt x="45" y="212"/>
                      <a:pt x="45" y="212"/>
                    </a:cubicBezTo>
                    <a:cubicBezTo>
                      <a:pt x="45" y="202"/>
                      <a:pt x="45" y="202"/>
                      <a:pt x="45" y="202"/>
                    </a:cubicBezTo>
                    <a:cubicBezTo>
                      <a:pt x="45" y="202"/>
                      <a:pt x="45" y="202"/>
                      <a:pt x="45" y="202"/>
                    </a:cubicBezTo>
                    <a:cubicBezTo>
                      <a:pt x="169" y="202"/>
                      <a:pt x="169" y="202"/>
                      <a:pt x="169" y="202"/>
                    </a:cubicBezTo>
                    <a:lnTo>
                      <a:pt x="169" y="212"/>
                    </a:lnTo>
                    <a:close/>
                    <a:moveTo>
                      <a:pt x="185" y="148"/>
                    </a:moveTo>
                    <a:cubicBezTo>
                      <a:pt x="184" y="139"/>
                      <a:pt x="177" y="134"/>
                      <a:pt x="169" y="134"/>
                    </a:cubicBezTo>
                    <a:cubicBezTo>
                      <a:pt x="45" y="134"/>
                      <a:pt x="45" y="134"/>
                      <a:pt x="45" y="134"/>
                    </a:cubicBezTo>
                    <a:cubicBezTo>
                      <a:pt x="37" y="134"/>
                      <a:pt x="30" y="139"/>
                      <a:pt x="29" y="148"/>
                    </a:cubicBezTo>
                    <a:cubicBezTo>
                      <a:pt x="29" y="161"/>
                      <a:pt x="29" y="161"/>
                      <a:pt x="29" y="161"/>
                    </a:cubicBezTo>
                    <a:cubicBezTo>
                      <a:pt x="30" y="170"/>
                      <a:pt x="37" y="175"/>
                      <a:pt x="45" y="175"/>
                    </a:cubicBezTo>
                    <a:cubicBezTo>
                      <a:pt x="169" y="175"/>
                      <a:pt x="169" y="175"/>
                      <a:pt x="169" y="175"/>
                    </a:cubicBezTo>
                    <a:cubicBezTo>
                      <a:pt x="177" y="175"/>
                      <a:pt x="185" y="170"/>
                      <a:pt x="185" y="161"/>
                    </a:cubicBezTo>
                    <a:lnTo>
                      <a:pt x="185" y="148"/>
                    </a:lnTo>
                    <a:close/>
                    <a:moveTo>
                      <a:pt x="169" y="159"/>
                    </a:moveTo>
                    <a:cubicBezTo>
                      <a:pt x="45" y="159"/>
                      <a:pt x="45" y="159"/>
                      <a:pt x="45" y="159"/>
                    </a:cubicBezTo>
                    <a:cubicBezTo>
                      <a:pt x="45" y="159"/>
                      <a:pt x="45" y="159"/>
                      <a:pt x="45" y="159"/>
                    </a:cubicBezTo>
                    <a:cubicBezTo>
                      <a:pt x="45" y="150"/>
                      <a:pt x="45" y="150"/>
                      <a:pt x="45" y="150"/>
                    </a:cubicBezTo>
                    <a:cubicBezTo>
                      <a:pt x="45" y="150"/>
                      <a:pt x="45" y="150"/>
                      <a:pt x="45" y="150"/>
                    </a:cubicBezTo>
                    <a:cubicBezTo>
                      <a:pt x="169" y="150"/>
                      <a:pt x="169" y="150"/>
                      <a:pt x="169" y="150"/>
                    </a:cubicBezTo>
                    <a:lnTo>
                      <a:pt x="169" y="159"/>
                    </a:lnTo>
                    <a:close/>
                    <a:moveTo>
                      <a:pt x="185" y="96"/>
                    </a:moveTo>
                    <a:cubicBezTo>
                      <a:pt x="185" y="87"/>
                      <a:pt x="177" y="81"/>
                      <a:pt x="169" y="81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37" y="81"/>
                      <a:pt x="30" y="87"/>
                      <a:pt x="29" y="96"/>
                    </a:cubicBezTo>
                    <a:cubicBezTo>
                      <a:pt x="29" y="108"/>
                      <a:pt x="29" y="108"/>
                      <a:pt x="29" y="108"/>
                    </a:cubicBezTo>
                    <a:cubicBezTo>
                      <a:pt x="30" y="117"/>
                      <a:pt x="37" y="123"/>
                      <a:pt x="45" y="123"/>
                    </a:cubicBezTo>
                    <a:cubicBezTo>
                      <a:pt x="169" y="123"/>
                      <a:pt x="169" y="123"/>
                      <a:pt x="169" y="123"/>
                    </a:cubicBezTo>
                    <a:cubicBezTo>
                      <a:pt x="177" y="123"/>
                      <a:pt x="184" y="117"/>
                      <a:pt x="185" y="108"/>
                    </a:cubicBezTo>
                    <a:lnTo>
                      <a:pt x="185" y="96"/>
                    </a:lnTo>
                    <a:close/>
                    <a:moveTo>
                      <a:pt x="169" y="107"/>
                    </a:moveTo>
                    <a:cubicBezTo>
                      <a:pt x="45" y="107"/>
                      <a:pt x="45" y="107"/>
                      <a:pt x="45" y="107"/>
                    </a:cubicBezTo>
                    <a:cubicBezTo>
                      <a:pt x="45" y="107"/>
                      <a:pt x="45" y="107"/>
                      <a:pt x="45" y="107"/>
                    </a:cubicBezTo>
                    <a:cubicBezTo>
                      <a:pt x="45" y="97"/>
                      <a:pt x="45" y="97"/>
                      <a:pt x="45" y="97"/>
                    </a:cubicBezTo>
                    <a:cubicBezTo>
                      <a:pt x="45" y="97"/>
                      <a:pt x="45" y="97"/>
                      <a:pt x="45" y="97"/>
                    </a:cubicBezTo>
                    <a:cubicBezTo>
                      <a:pt x="169" y="97"/>
                      <a:pt x="169" y="97"/>
                      <a:pt x="169" y="97"/>
                    </a:cubicBezTo>
                    <a:lnTo>
                      <a:pt x="169" y="107"/>
                    </a:lnTo>
                    <a:close/>
                    <a:moveTo>
                      <a:pt x="185" y="44"/>
                    </a:moveTo>
                    <a:cubicBezTo>
                      <a:pt x="184" y="34"/>
                      <a:pt x="177" y="29"/>
                      <a:pt x="169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37" y="29"/>
                      <a:pt x="30" y="34"/>
                      <a:pt x="29" y="44"/>
                    </a:cubicBezTo>
                    <a:cubicBezTo>
                      <a:pt x="29" y="56"/>
                      <a:pt x="29" y="56"/>
                      <a:pt x="29" y="56"/>
                    </a:cubicBezTo>
                    <a:cubicBezTo>
                      <a:pt x="30" y="65"/>
                      <a:pt x="37" y="70"/>
                      <a:pt x="45" y="70"/>
                    </a:cubicBezTo>
                    <a:cubicBezTo>
                      <a:pt x="169" y="70"/>
                      <a:pt x="169" y="70"/>
                      <a:pt x="169" y="70"/>
                    </a:cubicBezTo>
                    <a:cubicBezTo>
                      <a:pt x="177" y="70"/>
                      <a:pt x="185" y="65"/>
                      <a:pt x="185" y="56"/>
                    </a:cubicBezTo>
                    <a:lnTo>
                      <a:pt x="185" y="44"/>
                    </a:lnTo>
                    <a:close/>
                    <a:moveTo>
                      <a:pt x="169" y="54"/>
                    </a:move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169" y="45"/>
                      <a:pt x="169" y="45"/>
                      <a:pt x="169" y="45"/>
                    </a:cubicBezTo>
                    <a:lnTo>
                      <a:pt x="169" y="54"/>
                    </a:lnTo>
                    <a:close/>
                    <a:moveTo>
                      <a:pt x="212" y="88"/>
                    </a:moveTo>
                    <a:cubicBezTo>
                      <a:pt x="204" y="88"/>
                      <a:pt x="198" y="94"/>
                      <a:pt x="198" y="102"/>
                    </a:cubicBezTo>
                    <a:cubicBezTo>
                      <a:pt x="198" y="110"/>
                      <a:pt x="204" y="116"/>
                      <a:pt x="212" y="116"/>
                    </a:cubicBezTo>
                    <a:cubicBezTo>
                      <a:pt x="220" y="116"/>
                      <a:pt x="226" y="110"/>
                      <a:pt x="226" y="102"/>
                    </a:cubicBezTo>
                    <a:cubicBezTo>
                      <a:pt x="226" y="94"/>
                      <a:pt x="220" y="88"/>
                      <a:pt x="212" y="88"/>
                    </a:cubicBezTo>
                    <a:close/>
                    <a:moveTo>
                      <a:pt x="212" y="35"/>
                    </a:moveTo>
                    <a:cubicBezTo>
                      <a:pt x="204" y="35"/>
                      <a:pt x="198" y="42"/>
                      <a:pt x="198" y="50"/>
                    </a:cubicBezTo>
                    <a:cubicBezTo>
                      <a:pt x="198" y="57"/>
                      <a:pt x="204" y="64"/>
                      <a:pt x="212" y="64"/>
                    </a:cubicBezTo>
                    <a:cubicBezTo>
                      <a:pt x="220" y="64"/>
                      <a:pt x="226" y="57"/>
                      <a:pt x="226" y="50"/>
                    </a:cubicBezTo>
                    <a:cubicBezTo>
                      <a:pt x="226" y="42"/>
                      <a:pt x="220" y="35"/>
                      <a:pt x="212" y="35"/>
                    </a:cubicBezTo>
                    <a:close/>
                    <a:moveTo>
                      <a:pt x="212" y="140"/>
                    </a:moveTo>
                    <a:cubicBezTo>
                      <a:pt x="204" y="140"/>
                      <a:pt x="198" y="147"/>
                      <a:pt x="198" y="155"/>
                    </a:cubicBezTo>
                    <a:cubicBezTo>
                      <a:pt x="198" y="162"/>
                      <a:pt x="204" y="169"/>
                      <a:pt x="212" y="169"/>
                    </a:cubicBezTo>
                    <a:cubicBezTo>
                      <a:pt x="220" y="169"/>
                      <a:pt x="226" y="162"/>
                      <a:pt x="226" y="155"/>
                    </a:cubicBezTo>
                    <a:cubicBezTo>
                      <a:pt x="226" y="147"/>
                      <a:pt x="220" y="140"/>
                      <a:pt x="212" y="140"/>
                    </a:cubicBezTo>
                    <a:close/>
                    <a:moveTo>
                      <a:pt x="212" y="193"/>
                    </a:moveTo>
                    <a:cubicBezTo>
                      <a:pt x="204" y="193"/>
                      <a:pt x="198" y="199"/>
                      <a:pt x="198" y="207"/>
                    </a:cubicBezTo>
                    <a:cubicBezTo>
                      <a:pt x="198" y="215"/>
                      <a:pt x="204" y="221"/>
                      <a:pt x="212" y="221"/>
                    </a:cubicBezTo>
                    <a:cubicBezTo>
                      <a:pt x="220" y="221"/>
                      <a:pt x="226" y="215"/>
                      <a:pt x="226" y="207"/>
                    </a:cubicBezTo>
                    <a:cubicBezTo>
                      <a:pt x="226" y="199"/>
                      <a:pt x="220" y="193"/>
                      <a:pt x="212" y="193"/>
                    </a:cubicBezTo>
                    <a:close/>
                    <a:moveTo>
                      <a:pt x="212" y="245"/>
                    </a:moveTo>
                    <a:cubicBezTo>
                      <a:pt x="204" y="245"/>
                      <a:pt x="198" y="252"/>
                      <a:pt x="198" y="259"/>
                    </a:cubicBezTo>
                    <a:cubicBezTo>
                      <a:pt x="198" y="267"/>
                      <a:pt x="204" y="274"/>
                      <a:pt x="212" y="274"/>
                    </a:cubicBezTo>
                    <a:cubicBezTo>
                      <a:pt x="220" y="274"/>
                      <a:pt x="226" y="267"/>
                      <a:pt x="226" y="259"/>
                    </a:cubicBezTo>
                    <a:cubicBezTo>
                      <a:pt x="226" y="252"/>
                      <a:pt x="220" y="245"/>
                      <a:pt x="212" y="245"/>
                    </a:cubicBezTo>
                    <a:close/>
                    <a:moveTo>
                      <a:pt x="212" y="298"/>
                    </a:moveTo>
                    <a:cubicBezTo>
                      <a:pt x="204" y="298"/>
                      <a:pt x="198" y="304"/>
                      <a:pt x="198" y="312"/>
                    </a:cubicBezTo>
                    <a:cubicBezTo>
                      <a:pt x="198" y="320"/>
                      <a:pt x="204" y="326"/>
                      <a:pt x="212" y="326"/>
                    </a:cubicBezTo>
                    <a:cubicBezTo>
                      <a:pt x="220" y="326"/>
                      <a:pt x="226" y="320"/>
                      <a:pt x="226" y="312"/>
                    </a:cubicBezTo>
                    <a:cubicBezTo>
                      <a:pt x="226" y="304"/>
                      <a:pt x="220" y="298"/>
                      <a:pt x="212" y="298"/>
                    </a:cubicBezTo>
                    <a:close/>
                    <a:moveTo>
                      <a:pt x="212" y="350"/>
                    </a:moveTo>
                    <a:cubicBezTo>
                      <a:pt x="204" y="350"/>
                      <a:pt x="198" y="356"/>
                      <a:pt x="198" y="364"/>
                    </a:cubicBezTo>
                    <a:cubicBezTo>
                      <a:pt x="198" y="372"/>
                      <a:pt x="204" y="379"/>
                      <a:pt x="212" y="379"/>
                    </a:cubicBezTo>
                    <a:cubicBezTo>
                      <a:pt x="220" y="379"/>
                      <a:pt x="226" y="372"/>
                      <a:pt x="226" y="364"/>
                    </a:cubicBezTo>
                    <a:cubicBezTo>
                      <a:pt x="226" y="356"/>
                      <a:pt x="220" y="350"/>
                      <a:pt x="212" y="350"/>
                    </a:cubicBezTo>
                    <a:close/>
                    <a:moveTo>
                      <a:pt x="247" y="44"/>
                    </a:moveTo>
                    <a:cubicBezTo>
                      <a:pt x="251" y="44"/>
                      <a:pt x="255" y="41"/>
                      <a:pt x="255" y="36"/>
                    </a:cubicBezTo>
                    <a:cubicBezTo>
                      <a:pt x="255" y="16"/>
                      <a:pt x="255" y="16"/>
                      <a:pt x="255" y="16"/>
                    </a:cubicBezTo>
                    <a:cubicBezTo>
                      <a:pt x="255" y="7"/>
                      <a:pt x="248" y="0"/>
                      <a:pt x="23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96"/>
                      <a:pt x="0" y="396"/>
                      <a:pt x="0" y="396"/>
                    </a:cubicBezTo>
                    <a:cubicBezTo>
                      <a:pt x="0" y="405"/>
                      <a:pt x="7" y="412"/>
                      <a:pt x="16" y="412"/>
                    </a:cubicBezTo>
                    <a:cubicBezTo>
                      <a:pt x="239" y="412"/>
                      <a:pt x="239" y="412"/>
                      <a:pt x="239" y="412"/>
                    </a:cubicBezTo>
                    <a:cubicBezTo>
                      <a:pt x="248" y="412"/>
                      <a:pt x="255" y="405"/>
                      <a:pt x="255" y="396"/>
                    </a:cubicBezTo>
                    <a:cubicBezTo>
                      <a:pt x="255" y="60"/>
                      <a:pt x="255" y="60"/>
                      <a:pt x="255" y="60"/>
                    </a:cubicBezTo>
                    <a:cubicBezTo>
                      <a:pt x="255" y="56"/>
                      <a:pt x="251" y="52"/>
                      <a:pt x="247" y="52"/>
                    </a:cubicBezTo>
                    <a:cubicBezTo>
                      <a:pt x="242" y="52"/>
                      <a:pt x="239" y="56"/>
                      <a:pt x="239" y="60"/>
                    </a:cubicBezTo>
                    <a:cubicBezTo>
                      <a:pt x="239" y="396"/>
                      <a:pt x="239" y="396"/>
                      <a:pt x="239" y="396"/>
                    </a:cubicBezTo>
                    <a:cubicBezTo>
                      <a:pt x="16" y="396"/>
                      <a:pt x="16" y="396"/>
                      <a:pt x="16" y="396"/>
                    </a:cubicBezTo>
                    <a:cubicBezTo>
                      <a:pt x="16" y="396"/>
                      <a:pt x="16" y="396"/>
                      <a:pt x="16" y="39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239" y="16"/>
                      <a:pt x="239" y="16"/>
                      <a:pt x="239" y="16"/>
                    </a:cubicBezTo>
                    <a:cubicBezTo>
                      <a:pt x="239" y="36"/>
                      <a:pt x="239" y="36"/>
                      <a:pt x="239" y="36"/>
                    </a:cubicBezTo>
                    <a:cubicBezTo>
                      <a:pt x="239" y="41"/>
                      <a:pt x="242" y="44"/>
                      <a:pt x="247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38" name="Freeform 61"/>
              <p:cNvSpPr>
                <a:spLocks noChangeAspect="1" noEditPoints="1"/>
              </p:cNvSpPr>
              <p:nvPr/>
            </p:nvSpPr>
            <p:spPr bwMode="auto">
              <a:xfrm>
                <a:off x="6578663" y="5929955"/>
                <a:ext cx="459044" cy="743010"/>
              </a:xfrm>
              <a:custGeom>
                <a:avLst/>
                <a:gdLst>
                  <a:gd name="T0" fmla="*/ 2147483646 w 255"/>
                  <a:gd name="T1" fmla="*/ 2147483646 h 412"/>
                  <a:gd name="T2" fmla="*/ 2147483646 w 255"/>
                  <a:gd name="T3" fmla="*/ 2147483646 h 412"/>
                  <a:gd name="T4" fmla="*/ 2147483646 w 255"/>
                  <a:gd name="T5" fmla="*/ 2147483646 h 412"/>
                  <a:gd name="T6" fmla="*/ 2147483646 w 255"/>
                  <a:gd name="T7" fmla="*/ 2147483646 h 412"/>
                  <a:gd name="T8" fmla="*/ 2147483646 w 255"/>
                  <a:gd name="T9" fmla="*/ 2147483646 h 412"/>
                  <a:gd name="T10" fmla="*/ 2147483646 w 255"/>
                  <a:gd name="T11" fmla="*/ 2147483646 h 412"/>
                  <a:gd name="T12" fmla="*/ 2147483646 w 255"/>
                  <a:gd name="T13" fmla="*/ 2147483646 h 412"/>
                  <a:gd name="T14" fmla="*/ 2147483646 w 255"/>
                  <a:gd name="T15" fmla="*/ 2147483646 h 412"/>
                  <a:gd name="T16" fmla="*/ 2147483646 w 255"/>
                  <a:gd name="T17" fmla="*/ 2147483646 h 412"/>
                  <a:gd name="T18" fmla="*/ 2147483646 w 255"/>
                  <a:gd name="T19" fmla="*/ 2147483646 h 412"/>
                  <a:gd name="T20" fmla="*/ 2147483646 w 255"/>
                  <a:gd name="T21" fmla="*/ 2147483646 h 412"/>
                  <a:gd name="T22" fmla="*/ 2147483646 w 255"/>
                  <a:gd name="T23" fmla="*/ 2147483646 h 412"/>
                  <a:gd name="T24" fmla="*/ 2147483646 w 255"/>
                  <a:gd name="T25" fmla="*/ 2147483646 h 412"/>
                  <a:gd name="T26" fmla="*/ 2147483646 w 255"/>
                  <a:gd name="T27" fmla="*/ 2147483646 h 412"/>
                  <a:gd name="T28" fmla="*/ 2147483646 w 255"/>
                  <a:gd name="T29" fmla="*/ 2147483646 h 412"/>
                  <a:gd name="T30" fmla="*/ 2147483646 w 255"/>
                  <a:gd name="T31" fmla="*/ 2147483646 h 412"/>
                  <a:gd name="T32" fmla="*/ 2147483646 w 255"/>
                  <a:gd name="T33" fmla="*/ 2147483646 h 412"/>
                  <a:gd name="T34" fmla="*/ 2147483646 w 255"/>
                  <a:gd name="T35" fmla="*/ 2147483646 h 412"/>
                  <a:gd name="T36" fmla="*/ 2147483646 w 255"/>
                  <a:gd name="T37" fmla="*/ 2147483646 h 412"/>
                  <a:gd name="T38" fmla="*/ 2147483646 w 255"/>
                  <a:gd name="T39" fmla="*/ 2147483646 h 412"/>
                  <a:gd name="T40" fmla="*/ 2147483646 w 255"/>
                  <a:gd name="T41" fmla="*/ 2147483646 h 412"/>
                  <a:gd name="T42" fmla="*/ 2147483646 w 255"/>
                  <a:gd name="T43" fmla="*/ 2147483646 h 412"/>
                  <a:gd name="T44" fmla="*/ 2147483646 w 255"/>
                  <a:gd name="T45" fmla="*/ 2147483646 h 412"/>
                  <a:gd name="T46" fmla="*/ 2147483646 w 255"/>
                  <a:gd name="T47" fmla="*/ 2147483646 h 412"/>
                  <a:gd name="T48" fmla="*/ 2147483646 w 255"/>
                  <a:gd name="T49" fmla="*/ 2147483646 h 412"/>
                  <a:gd name="T50" fmla="*/ 2147483646 w 255"/>
                  <a:gd name="T51" fmla="*/ 2147483646 h 412"/>
                  <a:gd name="T52" fmla="*/ 2147483646 w 255"/>
                  <a:gd name="T53" fmla="*/ 2147483646 h 412"/>
                  <a:gd name="T54" fmla="*/ 2147483646 w 255"/>
                  <a:gd name="T55" fmla="*/ 2147483646 h 412"/>
                  <a:gd name="T56" fmla="*/ 2147483646 w 255"/>
                  <a:gd name="T57" fmla="*/ 2147483646 h 412"/>
                  <a:gd name="T58" fmla="*/ 2147483646 w 255"/>
                  <a:gd name="T59" fmla="*/ 2147483646 h 412"/>
                  <a:gd name="T60" fmla="*/ 2147483646 w 255"/>
                  <a:gd name="T61" fmla="*/ 2147483646 h 412"/>
                  <a:gd name="T62" fmla="*/ 2147483646 w 255"/>
                  <a:gd name="T63" fmla="*/ 2147483646 h 412"/>
                  <a:gd name="T64" fmla="*/ 2147483646 w 255"/>
                  <a:gd name="T65" fmla="*/ 2147483646 h 412"/>
                  <a:gd name="T66" fmla="*/ 2147483646 w 255"/>
                  <a:gd name="T67" fmla="*/ 2147483646 h 412"/>
                  <a:gd name="T68" fmla="*/ 2147483646 w 255"/>
                  <a:gd name="T69" fmla="*/ 2147483646 h 412"/>
                  <a:gd name="T70" fmla="*/ 2147483646 w 255"/>
                  <a:gd name="T71" fmla="*/ 2147483646 h 412"/>
                  <a:gd name="T72" fmla="*/ 2147483646 w 255"/>
                  <a:gd name="T73" fmla="*/ 2147483646 h 412"/>
                  <a:gd name="T74" fmla="*/ 2147483646 w 255"/>
                  <a:gd name="T75" fmla="*/ 2147483646 h 412"/>
                  <a:gd name="T76" fmla="*/ 2147483646 w 255"/>
                  <a:gd name="T77" fmla="*/ 2147483646 h 412"/>
                  <a:gd name="T78" fmla="*/ 2147483646 w 255"/>
                  <a:gd name="T79" fmla="*/ 2147483646 h 412"/>
                  <a:gd name="T80" fmla="*/ 2147483646 w 255"/>
                  <a:gd name="T81" fmla="*/ 2147483646 h 412"/>
                  <a:gd name="T82" fmla="*/ 2147483646 w 255"/>
                  <a:gd name="T83" fmla="*/ 2147483646 h 412"/>
                  <a:gd name="T84" fmla="*/ 2147483646 w 255"/>
                  <a:gd name="T85" fmla="*/ 2147483646 h 412"/>
                  <a:gd name="T86" fmla="*/ 2147483646 w 255"/>
                  <a:gd name="T87" fmla="*/ 2147483646 h 412"/>
                  <a:gd name="T88" fmla="*/ 2147483646 w 255"/>
                  <a:gd name="T89" fmla="*/ 2147483646 h 412"/>
                  <a:gd name="T90" fmla="*/ 2147483646 w 255"/>
                  <a:gd name="T91" fmla="*/ 2147483646 h 412"/>
                  <a:gd name="T92" fmla="*/ 2147483646 w 255"/>
                  <a:gd name="T93" fmla="*/ 2147483646 h 412"/>
                  <a:gd name="T94" fmla="*/ 2147483646 w 255"/>
                  <a:gd name="T95" fmla="*/ 2147483646 h 412"/>
                  <a:gd name="T96" fmla="*/ 2147483646 w 255"/>
                  <a:gd name="T97" fmla="*/ 2147483646 h 412"/>
                  <a:gd name="T98" fmla="*/ 2147483646 w 255"/>
                  <a:gd name="T99" fmla="*/ 2147483646 h 412"/>
                  <a:gd name="T100" fmla="*/ 0 w 255"/>
                  <a:gd name="T101" fmla="*/ 2147483646 h 412"/>
                  <a:gd name="T102" fmla="*/ 2147483646 w 255"/>
                  <a:gd name="T103" fmla="*/ 2147483646 h 412"/>
                  <a:gd name="T104" fmla="*/ 2147483646 w 255"/>
                  <a:gd name="T105" fmla="*/ 2147483646 h 412"/>
                  <a:gd name="T106" fmla="*/ 2147483646 w 255"/>
                  <a:gd name="T107" fmla="*/ 2147483646 h 412"/>
                  <a:gd name="T108" fmla="*/ 2147483646 w 255"/>
                  <a:gd name="T109" fmla="*/ 2147483646 h 412"/>
                  <a:gd name="T110" fmla="*/ 2147483646 w 255"/>
                  <a:gd name="T111" fmla="*/ 2147483646 h 41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255"/>
                  <a:gd name="T169" fmla="*/ 0 h 412"/>
                  <a:gd name="T170" fmla="*/ 255 w 255"/>
                  <a:gd name="T171" fmla="*/ 412 h 412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255" h="412">
                    <a:moveTo>
                      <a:pt x="169" y="344"/>
                    </a:moveTo>
                    <a:cubicBezTo>
                      <a:pt x="45" y="344"/>
                      <a:pt x="45" y="344"/>
                      <a:pt x="45" y="344"/>
                    </a:cubicBezTo>
                    <a:cubicBezTo>
                      <a:pt x="37" y="344"/>
                      <a:pt x="30" y="349"/>
                      <a:pt x="29" y="358"/>
                    </a:cubicBezTo>
                    <a:cubicBezTo>
                      <a:pt x="29" y="370"/>
                      <a:pt x="29" y="370"/>
                      <a:pt x="29" y="370"/>
                    </a:cubicBezTo>
                    <a:cubicBezTo>
                      <a:pt x="30" y="380"/>
                      <a:pt x="37" y="385"/>
                      <a:pt x="45" y="385"/>
                    </a:cubicBezTo>
                    <a:cubicBezTo>
                      <a:pt x="169" y="385"/>
                      <a:pt x="169" y="385"/>
                      <a:pt x="169" y="385"/>
                    </a:cubicBezTo>
                    <a:cubicBezTo>
                      <a:pt x="177" y="385"/>
                      <a:pt x="185" y="380"/>
                      <a:pt x="185" y="370"/>
                    </a:cubicBezTo>
                    <a:cubicBezTo>
                      <a:pt x="185" y="358"/>
                      <a:pt x="185" y="358"/>
                      <a:pt x="185" y="358"/>
                    </a:cubicBezTo>
                    <a:cubicBezTo>
                      <a:pt x="184" y="349"/>
                      <a:pt x="177" y="344"/>
                      <a:pt x="169" y="344"/>
                    </a:cubicBezTo>
                    <a:close/>
                    <a:moveTo>
                      <a:pt x="169" y="369"/>
                    </a:moveTo>
                    <a:cubicBezTo>
                      <a:pt x="45" y="369"/>
                      <a:pt x="45" y="369"/>
                      <a:pt x="45" y="369"/>
                    </a:cubicBezTo>
                    <a:cubicBezTo>
                      <a:pt x="45" y="369"/>
                      <a:pt x="45" y="369"/>
                      <a:pt x="45" y="369"/>
                    </a:cubicBezTo>
                    <a:cubicBezTo>
                      <a:pt x="45" y="360"/>
                      <a:pt x="45" y="360"/>
                      <a:pt x="45" y="360"/>
                    </a:cubicBezTo>
                    <a:cubicBezTo>
                      <a:pt x="45" y="360"/>
                      <a:pt x="45" y="360"/>
                      <a:pt x="45" y="360"/>
                    </a:cubicBezTo>
                    <a:cubicBezTo>
                      <a:pt x="169" y="360"/>
                      <a:pt x="169" y="360"/>
                      <a:pt x="169" y="360"/>
                    </a:cubicBezTo>
                    <a:lnTo>
                      <a:pt x="169" y="369"/>
                    </a:lnTo>
                    <a:close/>
                    <a:moveTo>
                      <a:pt x="185" y="306"/>
                    </a:moveTo>
                    <a:cubicBezTo>
                      <a:pt x="185" y="297"/>
                      <a:pt x="177" y="291"/>
                      <a:pt x="169" y="291"/>
                    </a:cubicBezTo>
                    <a:cubicBezTo>
                      <a:pt x="45" y="291"/>
                      <a:pt x="45" y="291"/>
                      <a:pt x="45" y="291"/>
                    </a:cubicBezTo>
                    <a:cubicBezTo>
                      <a:pt x="37" y="291"/>
                      <a:pt x="30" y="297"/>
                      <a:pt x="29" y="306"/>
                    </a:cubicBezTo>
                    <a:cubicBezTo>
                      <a:pt x="29" y="318"/>
                      <a:pt x="29" y="318"/>
                      <a:pt x="29" y="318"/>
                    </a:cubicBezTo>
                    <a:cubicBezTo>
                      <a:pt x="30" y="327"/>
                      <a:pt x="37" y="333"/>
                      <a:pt x="45" y="333"/>
                    </a:cubicBezTo>
                    <a:cubicBezTo>
                      <a:pt x="169" y="333"/>
                      <a:pt x="169" y="333"/>
                      <a:pt x="169" y="333"/>
                    </a:cubicBezTo>
                    <a:cubicBezTo>
                      <a:pt x="177" y="333"/>
                      <a:pt x="184" y="327"/>
                      <a:pt x="185" y="318"/>
                    </a:cubicBezTo>
                    <a:lnTo>
                      <a:pt x="185" y="306"/>
                    </a:lnTo>
                    <a:close/>
                    <a:moveTo>
                      <a:pt x="169" y="317"/>
                    </a:moveTo>
                    <a:cubicBezTo>
                      <a:pt x="45" y="317"/>
                      <a:pt x="45" y="317"/>
                      <a:pt x="45" y="317"/>
                    </a:cubicBezTo>
                    <a:cubicBezTo>
                      <a:pt x="45" y="317"/>
                      <a:pt x="45" y="317"/>
                      <a:pt x="45" y="317"/>
                    </a:cubicBezTo>
                    <a:cubicBezTo>
                      <a:pt x="45" y="307"/>
                      <a:pt x="45" y="307"/>
                      <a:pt x="45" y="307"/>
                    </a:cubicBezTo>
                    <a:cubicBezTo>
                      <a:pt x="45" y="307"/>
                      <a:pt x="45" y="307"/>
                      <a:pt x="45" y="307"/>
                    </a:cubicBezTo>
                    <a:cubicBezTo>
                      <a:pt x="169" y="307"/>
                      <a:pt x="169" y="307"/>
                      <a:pt x="169" y="307"/>
                    </a:cubicBezTo>
                    <a:lnTo>
                      <a:pt x="169" y="317"/>
                    </a:lnTo>
                    <a:close/>
                    <a:moveTo>
                      <a:pt x="185" y="253"/>
                    </a:moveTo>
                    <a:cubicBezTo>
                      <a:pt x="184" y="244"/>
                      <a:pt x="177" y="239"/>
                      <a:pt x="169" y="239"/>
                    </a:cubicBezTo>
                    <a:cubicBezTo>
                      <a:pt x="45" y="239"/>
                      <a:pt x="45" y="239"/>
                      <a:pt x="45" y="239"/>
                    </a:cubicBezTo>
                    <a:cubicBezTo>
                      <a:pt x="37" y="239"/>
                      <a:pt x="30" y="244"/>
                      <a:pt x="29" y="253"/>
                    </a:cubicBezTo>
                    <a:cubicBezTo>
                      <a:pt x="29" y="265"/>
                      <a:pt x="29" y="265"/>
                      <a:pt x="29" y="265"/>
                    </a:cubicBezTo>
                    <a:cubicBezTo>
                      <a:pt x="30" y="275"/>
                      <a:pt x="37" y="280"/>
                      <a:pt x="45" y="280"/>
                    </a:cubicBezTo>
                    <a:cubicBezTo>
                      <a:pt x="169" y="280"/>
                      <a:pt x="169" y="280"/>
                      <a:pt x="169" y="280"/>
                    </a:cubicBezTo>
                    <a:cubicBezTo>
                      <a:pt x="177" y="280"/>
                      <a:pt x="185" y="275"/>
                      <a:pt x="185" y="265"/>
                    </a:cubicBezTo>
                    <a:lnTo>
                      <a:pt x="185" y="253"/>
                    </a:lnTo>
                    <a:close/>
                    <a:moveTo>
                      <a:pt x="169" y="264"/>
                    </a:moveTo>
                    <a:cubicBezTo>
                      <a:pt x="45" y="264"/>
                      <a:pt x="45" y="264"/>
                      <a:pt x="45" y="264"/>
                    </a:cubicBezTo>
                    <a:cubicBezTo>
                      <a:pt x="45" y="264"/>
                      <a:pt x="45" y="264"/>
                      <a:pt x="45" y="264"/>
                    </a:cubicBezTo>
                    <a:cubicBezTo>
                      <a:pt x="45" y="255"/>
                      <a:pt x="45" y="255"/>
                      <a:pt x="45" y="255"/>
                    </a:cubicBezTo>
                    <a:cubicBezTo>
                      <a:pt x="45" y="255"/>
                      <a:pt x="45" y="255"/>
                      <a:pt x="45" y="255"/>
                    </a:cubicBezTo>
                    <a:cubicBezTo>
                      <a:pt x="169" y="255"/>
                      <a:pt x="169" y="255"/>
                      <a:pt x="169" y="255"/>
                    </a:cubicBezTo>
                    <a:lnTo>
                      <a:pt x="169" y="264"/>
                    </a:lnTo>
                    <a:close/>
                    <a:moveTo>
                      <a:pt x="185" y="201"/>
                    </a:moveTo>
                    <a:cubicBezTo>
                      <a:pt x="185" y="192"/>
                      <a:pt x="177" y="186"/>
                      <a:pt x="169" y="186"/>
                    </a:cubicBezTo>
                    <a:cubicBezTo>
                      <a:pt x="45" y="186"/>
                      <a:pt x="45" y="186"/>
                      <a:pt x="45" y="186"/>
                    </a:cubicBezTo>
                    <a:cubicBezTo>
                      <a:pt x="37" y="186"/>
                      <a:pt x="30" y="192"/>
                      <a:pt x="29" y="201"/>
                    </a:cubicBezTo>
                    <a:cubicBezTo>
                      <a:pt x="29" y="213"/>
                      <a:pt x="29" y="213"/>
                      <a:pt x="29" y="213"/>
                    </a:cubicBezTo>
                    <a:cubicBezTo>
                      <a:pt x="30" y="222"/>
                      <a:pt x="37" y="228"/>
                      <a:pt x="45" y="228"/>
                    </a:cubicBezTo>
                    <a:cubicBezTo>
                      <a:pt x="169" y="228"/>
                      <a:pt x="169" y="228"/>
                      <a:pt x="169" y="228"/>
                    </a:cubicBezTo>
                    <a:cubicBezTo>
                      <a:pt x="177" y="228"/>
                      <a:pt x="184" y="222"/>
                      <a:pt x="185" y="213"/>
                    </a:cubicBezTo>
                    <a:lnTo>
                      <a:pt x="185" y="201"/>
                    </a:lnTo>
                    <a:close/>
                    <a:moveTo>
                      <a:pt x="169" y="212"/>
                    </a:moveTo>
                    <a:cubicBezTo>
                      <a:pt x="45" y="212"/>
                      <a:pt x="45" y="212"/>
                      <a:pt x="45" y="212"/>
                    </a:cubicBezTo>
                    <a:cubicBezTo>
                      <a:pt x="45" y="212"/>
                      <a:pt x="45" y="212"/>
                      <a:pt x="45" y="212"/>
                    </a:cubicBezTo>
                    <a:cubicBezTo>
                      <a:pt x="45" y="202"/>
                      <a:pt x="45" y="202"/>
                      <a:pt x="45" y="202"/>
                    </a:cubicBezTo>
                    <a:cubicBezTo>
                      <a:pt x="45" y="202"/>
                      <a:pt x="45" y="202"/>
                      <a:pt x="45" y="202"/>
                    </a:cubicBezTo>
                    <a:cubicBezTo>
                      <a:pt x="169" y="202"/>
                      <a:pt x="169" y="202"/>
                      <a:pt x="169" y="202"/>
                    </a:cubicBezTo>
                    <a:lnTo>
                      <a:pt x="169" y="212"/>
                    </a:lnTo>
                    <a:close/>
                    <a:moveTo>
                      <a:pt x="185" y="148"/>
                    </a:moveTo>
                    <a:cubicBezTo>
                      <a:pt x="184" y="139"/>
                      <a:pt x="177" y="134"/>
                      <a:pt x="169" y="134"/>
                    </a:cubicBezTo>
                    <a:cubicBezTo>
                      <a:pt x="45" y="134"/>
                      <a:pt x="45" y="134"/>
                      <a:pt x="45" y="134"/>
                    </a:cubicBezTo>
                    <a:cubicBezTo>
                      <a:pt x="37" y="134"/>
                      <a:pt x="30" y="139"/>
                      <a:pt x="29" y="148"/>
                    </a:cubicBezTo>
                    <a:cubicBezTo>
                      <a:pt x="29" y="161"/>
                      <a:pt x="29" y="161"/>
                      <a:pt x="29" y="161"/>
                    </a:cubicBezTo>
                    <a:cubicBezTo>
                      <a:pt x="30" y="170"/>
                      <a:pt x="37" y="175"/>
                      <a:pt x="45" y="175"/>
                    </a:cubicBezTo>
                    <a:cubicBezTo>
                      <a:pt x="169" y="175"/>
                      <a:pt x="169" y="175"/>
                      <a:pt x="169" y="175"/>
                    </a:cubicBezTo>
                    <a:cubicBezTo>
                      <a:pt x="177" y="175"/>
                      <a:pt x="185" y="170"/>
                      <a:pt x="185" y="161"/>
                    </a:cubicBezTo>
                    <a:lnTo>
                      <a:pt x="185" y="148"/>
                    </a:lnTo>
                    <a:close/>
                    <a:moveTo>
                      <a:pt x="169" y="159"/>
                    </a:moveTo>
                    <a:cubicBezTo>
                      <a:pt x="45" y="159"/>
                      <a:pt x="45" y="159"/>
                      <a:pt x="45" y="159"/>
                    </a:cubicBezTo>
                    <a:cubicBezTo>
                      <a:pt x="45" y="159"/>
                      <a:pt x="45" y="159"/>
                      <a:pt x="45" y="159"/>
                    </a:cubicBezTo>
                    <a:cubicBezTo>
                      <a:pt x="45" y="150"/>
                      <a:pt x="45" y="150"/>
                      <a:pt x="45" y="150"/>
                    </a:cubicBezTo>
                    <a:cubicBezTo>
                      <a:pt x="45" y="150"/>
                      <a:pt x="45" y="150"/>
                      <a:pt x="45" y="150"/>
                    </a:cubicBezTo>
                    <a:cubicBezTo>
                      <a:pt x="169" y="150"/>
                      <a:pt x="169" y="150"/>
                      <a:pt x="169" y="150"/>
                    </a:cubicBezTo>
                    <a:lnTo>
                      <a:pt x="169" y="159"/>
                    </a:lnTo>
                    <a:close/>
                    <a:moveTo>
                      <a:pt x="185" y="96"/>
                    </a:moveTo>
                    <a:cubicBezTo>
                      <a:pt x="185" y="87"/>
                      <a:pt x="177" y="81"/>
                      <a:pt x="169" y="81"/>
                    </a:cubicBezTo>
                    <a:cubicBezTo>
                      <a:pt x="45" y="81"/>
                      <a:pt x="45" y="81"/>
                      <a:pt x="45" y="81"/>
                    </a:cubicBezTo>
                    <a:cubicBezTo>
                      <a:pt x="37" y="81"/>
                      <a:pt x="30" y="87"/>
                      <a:pt x="29" y="96"/>
                    </a:cubicBezTo>
                    <a:cubicBezTo>
                      <a:pt x="29" y="108"/>
                      <a:pt x="29" y="108"/>
                      <a:pt x="29" y="108"/>
                    </a:cubicBezTo>
                    <a:cubicBezTo>
                      <a:pt x="30" y="117"/>
                      <a:pt x="37" y="123"/>
                      <a:pt x="45" y="123"/>
                    </a:cubicBezTo>
                    <a:cubicBezTo>
                      <a:pt x="169" y="123"/>
                      <a:pt x="169" y="123"/>
                      <a:pt x="169" y="123"/>
                    </a:cubicBezTo>
                    <a:cubicBezTo>
                      <a:pt x="177" y="123"/>
                      <a:pt x="184" y="117"/>
                      <a:pt x="185" y="108"/>
                    </a:cubicBezTo>
                    <a:lnTo>
                      <a:pt x="185" y="96"/>
                    </a:lnTo>
                    <a:close/>
                    <a:moveTo>
                      <a:pt x="169" y="107"/>
                    </a:moveTo>
                    <a:cubicBezTo>
                      <a:pt x="45" y="107"/>
                      <a:pt x="45" y="107"/>
                      <a:pt x="45" y="107"/>
                    </a:cubicBezTo>
                    <a:cubicBezTo>
                      <a:pt x="45" y="107"/>
                      <a:pt x="45" y="107"/>
                      <a:pt x="45" y="107"/>
                    </a:cubicBezTo>
                    <a:cubicBezTo>
                      <a:pt x="45" y="97"/>
                      <a:pt x="45" y="97"/>
                      <a:pt x="45" y="97"/>
                    </a:cubicBezTo>
                    <a:cubicBezTo>
                      <a:pt x="45" y="97"/>
                      <a:pt x="45" y="97"/>
                      <a:pt x="45" y="97"/>
                    </a:cubicBezTo>
                    <a:cubicBezTo>
                      <a:pt x="169" y="97"/>
                      <a:pt x="169" y="97"/>
                      <a:pt x="169" y="97"/>
                    </a:cubicBezTo>
                    <a:lnTo>
                      <a:pt x="169" y="107"/>
                    </a:lnTo>
                    <a:close/>
                    <a:moveTo>
                      <a:pt x="185" y="44"/>
                    </a:moveTo>
                    <a:cubicBezTo>
                      <a:pt x="184" y="34"/>
                      <a:pt x="177" y="29"/>
                      <a:pt x="169" y="29"/>
                    </a:cubicBezTo>
                    <a:cubicBezTo>
                      <a:pt x="45" y="29"/>
                      <a:pt x="45" y="29"/>
                      <a:pt x="45" y="29"/>
                    </a:cubicBezTo>
                    <a:cubicBezTo>
                      <a:pt x="37" y="29"/>
                      <a:pt x="30" y="34"/>
                      <a:pt x="29" y="44"/>
                    </a:cubicBezTo>
                    <a:cubicBezTo>
                      <a:pt x="29" y="56"/>
                      <a:pt x="29" y="56"/>
                      <a:pt x="29" y="56"/>
                    </a:cubicBezTo>
                    <a:cubicBezTo>
                      <a:pt x="30" y="65"/>
                      <a:pt x="37" y="70"/>
                      <a:pt x="45" y="70"/>
                    </a:cubicBezTo>
                    <a:cubicBezTo>
                      <a:pt x="169" y="70"/>
                      <a:pt x="169" y="70"/>
                      <a:pt x="169" y="70"/>
                    </a:cubicBezTo>
                    <a:cubicBezTo>
                      <a:pt x="177" y="70"/>
                      <a:pt x="185" y="65"/>
                      <a:pt x="185" y="56"/>
                    </a:cubicBezTo>
                    <a:lnTo>
                      <a:pt x="185" y="44"/>
                    </a:lnTo>
                    <a:close/>
                    <a:moveTo>
                      <a:pt x="169" y="54"/>
                    </a:move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45" y="45"/>
                      <a:pt x="45" y="45"/>
                      <a:pt x="45" y="45"/>
                    </a:cubicBezTo>
                    <a:cubicBezTo>
                      <a:pt x="169" y="45"/>
                      <a:pt x="169" y="45"/>
                      <a:pt x="169" y="45"/>
                    </a:cubicBezTo>
                    <a:lnTo>
                      <a:pt x="169" y="54"/>
                    </a:lnTo>
                    <a:close/>
                    <a:moveTo>
                      <a:pt x="212" y="88"/>
                    </a:moveTo>
                    <a:cubicBezTo>
                      <a:pt x="204" y="88"/>
                      <a:pt x="198" y="94"/>
                      <a:pt x="198" y="102"/>
                    </a:cubicBezTo>
                    <a:cubicBezTo>
                      <a:pt x="198" y="110"/>
                      <a:pt x="204" y="116"/>
                      <a:pt x="212" y="116"/>
                    </a:cubicBezTo>
                    <a:cubicBezTo>
                      <a:pt x="220" y="116"/>
                      <a:pt x="226" y="110"/>
                      <a:pt x="226" y="102"/>
                    </a:cubicBezTo>
                    <a:cubicBezTo>
                      <a:pt x="226" y="94"/>
                      <a:pt x="220" y="88"/>
                      <a:pt x="212" y="88"/>
                    </a:cubicBezTo>
                    <a:close/>
                    <a:moveTo>
                      <a:pt x="212" y="35"/>
                    </a:moveTo>
                    <a:cubicBezTo>
                      <a:pt x="204" y="35"/>
                      <a:pt x="198" y="42"/>
                      <a:pt x="198" y="50"/>
                    </a:cubicBezTo>
                    <a:cubicBezTo>
                      <a:pt x="198" y="57"/>
                      <a:pt x="204" y="64"/>
                      <a:pt x="212" y="64"/>
                    </a:cubicBezTo>
                    <a:cubicBezTo>
                      <a:pt x="220" y="64"/>
                      <a:pt x="226" y="57"/>
                      <a:pt x="226" y="50"/>
                    </a:cubicBezTo>
                    <a:cubicBezTo>
                      <a:pt x="226" y="42"/>
                      <a:pt x="220" y="35"/>
                      <a:pt x="212" y="35"/>
                    </a:cubicBezTo>
                    <a:close/>
                    <a:moveTo>
                      <a:pt x="212" y="140"/>
                    </a:moveTo>
                    <a:cubicBezTo>
                      <a:pt x="204" y="140"/>
                      <a:pt x="198" y="147"/>
                      <a:pt x="198" y="155"/>
                    </a:cubicBezTo>
                    <a:cubicBezTo>
                      <a:pt x="198" y="162"/>
                      <a:pt x="204" y="169"/>
                      <a:pt x="212" y="169"/>
                    </a:cubicBezTo>
                    <a:cubicBezTo>
                      <a:pt x="220" y="169"/>
                      <a:pt x="226" y="162"/>
                      <a:pt x="226" y="155"/>
                    </a:cubicBezTo>
                    <a:cubicBezTo>
                      <a:pt x="226" y="147"/>
                      <a:pt x="220" y="140"/>
                      <a:pt x="212" y="140"/>
                    </a:cubicBezTo>
                    <a:close/>
                    <a:moveTo>
                      <a:pt x="212" y="193"/>
                    </a:moveTo>
                    <a:cubicBezTo>
                      <a:pt x="204" y="193"/>
                      <a:pt x="198" y="199"/>
                      <a:pt x="198" y="207"/>
                    </a:cubicBezTo>
                    <a:cubicBezTo>
                      <a:pt x="198" y="215"/>
                      <a:pt x="204" y="221"/>
                      <a:pt x="212" y="221"/>
                    </a:cubicBezTo>
                    <a:cubicBezTo>
                      <a:pt x="220" y="221"/>
                      <a:pt x="226" y="215"/>
                      <a:pt x="226" y="207"/>
                    </a:cubicBezTo>
                    <a:cubicBezTo>
                      <a:pt x="226" y="199"/>
                      <a:pt x="220" y="193"/>
                      <a:pt x="212" y="193"/>
                    </a:cubicBezTo>
                    <a:close/>
                    <a:moveTo>
                      <a:pt x="212" y="245"/>
                    </a:moveTo>
                    <a:cubicBezTo>
                      <a:pt x="204" y="245"/>
                      <a:pt x="198" y="252"/>
                      <a:pt x="198" y="259"/>
                    </a:cubicBezTo>
                    <a:cubicBezTo>
                      <a:pt x="198" y="267"/>
                      <a:pt x="204" y="274"/>
                      <a:pt x="212" y="274"/>
                    </a:cubicBezTo>
                    <a:cubicBezTo>
                      <a:pt x="220" y="274"/>
                      <a:pt x="226" y="267"/>
                      <a:pt x="226" y="259"/>
                    </a:cubicBezTo>
                    <a:cubicBezTo>
                      <a:pt x="226" y="252"/>
                      <a:pt x="220" y="245"/>
                      <a:pt x="212" y="245"/>
                    </a:cubicBezTo>
                    <a:close/>
                    <a:moveTo>
                      <a:pt x="212" y="298"/>
                    </a:moveTo>
                    <a:cubicBezTo>
                      <a:pt x="204" y="298"/>
                      <a:pt x="198" y="304"/>
                      <a:pt x="198" y="312"/>
                    </a:cubicBezTo>
                    <a:cubicBezTo>
                      <a:pt x="198" y="320"/>
                      <a:pt x="204" y="326"/>
                      <a:pt x="212" y="326"/>
                    </a:cubicBezTo>
                    <a:cubicBezTo>
                      <a:pt x="220" y="326"/>
                      <a:pt x="226" y="320"/>
                      <a:pt x="226" y="312"/>
                    </a:cubicBezTo>
                    <a:cubicBezTo>
                      <a:pt x="226" y="304"/>
                      <a:pt x="220" y="298"/>
                      <a:pt x="212" y="298"/>
                    </a:cubicBezTo>
                    <a:close/>
                    <a:moveTo>
                      <a:pt x="212" y="350"/>
                    </a:moveTo>
                    <a:cubicBezTo>
                      <a:pt x="204" y="350"/>
                      <a:pt x="198" y="356"/>
                      <a:pt x="198" y="364"/>
                    </a:cubicBezTo>
                    <a:cubicBezTo>
                      <a:pt x="198" y="372"/>
                      <a:pt x="204" y="379"/>
                      <a:pt x="212" y="379"/>
                    </a:cubicBezTo>
                    <a:cubicBezTo>
                      <a:pt x="220" y="379"/>
                      <a:pt x="226" y="372"/>
                      <a:pt x="226" y="364"/>
                    </a:cubicBezTo>
                    <a:cubicBezTo>
                      <a:pt x="226" y="356"/>
                      <a:pt x="220" y="350"/>
                      <a:pt x="212" y="350"/>
                    </a:cubicBezTo>
                    <a:close/>
                    <a:moveTo>
                      <a:pt x="247" y="44"/>
                    </a:moveTo>
                    <a:cubicBezTo>
                      <a:pt x="251" y="44"/>
                      <a:pt x="255" y="41"/>
                      <a:pt x="255" y="36"/>
                    </a:cubicBezTo>
                    <a:cubicBezTo>
                      <a:pt x="255" y="16"/>
                      <a:pt x="255" y="16"/>
                      <a:pt x="255" y="16"/>
                    </a:cubicBezTo>
                    <a:cubicBezTo>
                      <a:pt x="255" y="7"/>
                      <a:pt x="248" y="0"/>
                      <a:pt x="239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7"/>
                      <a:pt x="0" y="16"/>
                    </a:cubicBezTo>
                    <a:cubicBezTo>
                      <a:pt x="0" y="396"/>
                      <a:pt x="0" y="396"/>
                      <a:pt x="0" y="396"/>
                    </a:cubicBezTo>
                    <a:cubicBezTo>
                      <a:pt x="0" y="405"/>
                      <a:pt x="7" y="412"/>
                      <a:pt x="16" y="412"/>
                    </a:cubicBezTo>
                    <a:cubicBezTo>
                      <a:pt x="239" y="412"/>
                      <a:pt x="239" y="412"/>
                      <a:pt x="239" y="412"/>
                    </a:cubicBezTo>
                    <a:cubicBezTo>
                      <a:pt x="248" y="412"/>
                      <a:pt x="255" y="405"/>
                      <a:pt x="255" y="396"/>
                    </a:cubicBezTo>
                    <a:cubicBezTo>
                      <a:pt x="255" y="60"/>
                      <a:pt x="255" y="60"/>
                      <a:pt x="255" y="60"/>
                    </a:cubicBezTo>
                    <a:cubicBezTo>
                      <a:pt x="255" y="56"/>
                      <a:pt x="251" y="52"/>
                      <a:pt x="247" y="52"/>
                    </a:cubicBezTo>
                    <a:cubicBezTo>
                      <a:pt x="242" y="52"/>
                      <a:pt x="239" y="56"/>
                      <a:pt x="239" y="60"/>
                    </a:cubicBezTo>
                    <a:cubicBezTo>
                      <a:pt x="239" y="396"/>
                      <a:pt x="239" y="396"/>
                      <a:pt x="239" y="396"/>
                    </a:cubicBezTo>
                    <a:cubicBezTo>
                      <a:pt x="16" y="396"/>
                      <a:pt x="16" y="396"/>
                      <a:pt x="16" y="396"/>
                    </a:cubicBezTo>
                    <a:cubicBezTo>
                      <a:pt x="16" y="396"/>
                      <a:pt x="16" y="396"/>
                      <a:pt x="16" y="39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16" y="16"/>
                      <a:pt x="16" y="16"/>
                      <a:pt x="16" y="16"/>
                    </a:cubicBezTo>
                    <a:cubicBezTo>
                      <a:pt x="239" y="16"/>
                      <a:pt x="239" y="16"/>
                      <a:pt x="239" y="16"/>
                    </a:cubicBezTo>
                    <a:cubicBezTo>
                      <a:pt x="239" y="36"/>
                      <a:pt x="239" y="36"/>
                      <a:pt x="239" y="36"/>
                    </a:cubicBezTo>
                    <a:cubicBezTo>
                      <a:pt x="239" y="41"/>
                      <a:pt x="242" y="44"/>
                      <a:pt x="247" y="4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439" name="Freeform 18"/>
              <p:cNvSpPr>
                <a:spLocks noChangeAspect="1"/>
              </p:cNvSpPr>
              <p:nvPr/>
            </p:nvSpPr>
            <p:spPr bwMode="auto">
              <a:xfrm>
                <a:off x="6693979" y="5335547"/>
                <a:ext cx="771728" cy="470203"/>
              </a:xfrm>
              <a:custGeom>
                <a:avLst/>
                <a:gdLst>
                  <a:gd name="T0" fmla="*/ 2147483646 w 733"/>
                  <a:gd name="T1" fmla="*/ 2147483646 h 447"/>
                  <a:gd name="T2" fmla="*/ 0 w 733"/>
                  <a:gd name="T3" fmla="*/ 2147483646 h 447"/>
                  <a:gd name="T4" fmla="*/ 0 w 733"/>
                  <a:gd name="T5" fmla="*/ 2147483646 h 447"/>
                  <a:gd name="T6" fmla="*/ 0 w 733"/>
                  <a:gd name="T7" fmla="*/ 2147483646 h 447"/>
                  <a:gd name="T8" fmla="*/ 2147483646 w 733"/>
                  <a:gd name="T9" fmla="*/ 0 h 447"/>
                  <a:gd name="T10" fmla="*/ 2147483646 w 733"/>
                  <a:gd name="T11" fmla="*/ 0 h 447"/>
                  <a:gd name="T12" fmla="*/ 2147483646 w 733"/>
                  <a:gd name="T13" fmla="*/ 0 h 447"/>
                  <a:gd name="T14" fmla="*/ 2147483646 w 733"/>
                  <a:gd name="T15" fmla="*/ 2147483646 h 447"/>
                  <a:gd name="T16" fmla="*/ 2147483646 w 733"/>
                  <a:gd name="T17" fmla="*/ 2147483646 h 447"/>
                  <a:gd name="T18" fmla="*/ 2147483646 w 733"/>
                  <a:gd name="T19" fmla="*/ 2147483646 h 447"/>
                  <a:gd name="T20" fmla="*/ 2147483646 w 733"/>
                  <a:gd name="T21" fmla="*/ 2147483646 h 447"/>
                  <a:gd name="T22" fmla="*/ 2147483646 w 733"/>
                  <a:gd name="T23" fmla="*/ 2147483646 h 447"/>
                  <a:gd name="T24" fmla="*/ 2147483646 w 733"/>
                  <a:gd name="T25" fmla="*/ 2147483646 h 447"/>
                  <a:gd name="T26" fmla="*/ 2147483646 w 733"/>
                  <a:gd name="T27" fmla="*/ 2147483646 h 447"/>
                  <a:gd name="T28" fmla="*/ 2147483646 w 733"/>
                  <a:gd name="T29" fmla="*/ 2147483646 h 447"/>
                  <a:gd name="T30" fmla="*/ 2147483646 w 733"/>
                  <a:gd name="T31" fmla="*/ 2147483646 h 447"/>
                  <a:gd name="T32" fmla="*/ 2147483646 w 733"/>
                  <a:gd name="T33" fmla="*/ 2147483646 h 447"/>
                  <a:gd name="T34" fmla="*/ 2147483646 w 733"/>
                  <a:gd name="T35" fmla="*/ 2147483646 h 447"/>
                  <a:gd name="T36" fmla="*/ 2147483646 w 733"/>
                  <a:gd name="T37" fmla="*/ 2147483646 h 447"/>
                  <a:gd name="T38" fmla="*/ 2147483646 w 733"/>
                  <a:gd name="T39" fmla="*/ 2147483646 h 447"/>
                  <a:gd name="T40" fmla="*/ 2147483646 w 733"/>
                  <a:gd name="T41" fmla="*/ 2147483646 h 447"/>
                  <a:gd name="T42" fmla="*/ 2147483646 w 733"/>
                  <a:gd name="T43" fmla="*/ 2147483646 h 447"/>
                  <a:gd name="T44" fmla="*/ 2147483646 w 733"/>
                  <a:gd name="T45" fmla="*/ 2147483646 h 447"/>
                  <a:gd name="T46" fmla="*/ 2147483646 w 733"/>
                  <a:gd name="T47" fmla="*/ 2147483646 h 447"/>
                  <a:gd name="T48" fmla="*/ 2147483646 w 733"/>
                  <a:gd name="T49" fmla="*/ 2147483646 h 447"/>
                  <a:gd name="T50" fmla="*/ 2147483646 w 733"/>
                  <a:gd name="T51" fmla="*/ 2147483646 h 447"/>
                  <a:gd name="T52" fmla="*/ 2147483646 w 733"/>
                  <a:gd name="T53" fmla="*/ 2147483646 h 447"/>
                  <a:gd name="T54" fmla="*/ 2147483646 w 733"/>
                  <a:gd name="T55" fmla="*/ 2147483646 h 447"/>
                  <a:gd name="T56" fmla="*/ 2147483646 w 733"/>
                  <a:gd name="T57" fmla="*/ 2147483646 h 447"/>
                  <a:gd name="T58" fmla="*/ 2147483646 w 733"/>
                  <a:gd name="T59" fmla="*/ 2147483646 h 447"/>
                  <a:gd name="T60" fmla="*/ 2147483646 w 733"/>
                  <a:gd name="T61" fmla="*/ 2147483646 h 447"/>
                  <a:gd name="T62" fmla="*/ 2147483646 w 733"/>
                  <a:gd name="T63" fmla="*/ 2147483646 h 447"/>
                  <a:gd name="T64" fmla="*/ 2147483646 w 733"/>
                  <a:gd name="T65" fmla="*/ 2147483646 h 447"/>
                  <a:gd name="T66" fmla="*/ 2147483646 w 733"/>
                  <a:gd name="T67" fmla="*/ 2147483646 h 447"/>
                  <a:gd name="T68" fmla="*/ 2147483646 w 733"/>
                  <a:gd name="T69" fmla="*/ 2147483646 h 447"/>
                  <a:gd name="T70" fmla="*/ 2147483646 w 733"/>
                  <a:gd name="T71" fmla="*/ 2147483646 h 44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33"/>
                  <a:gd name="T109" fmla="*/ 0 h 447"/>
                  <a:gd name="T110" fmla="*/ 733 w 733"/>
                  <a:gd name="T111" fmla="*/ 447 h 44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33" h="447">
                    <a:moveTo>
                      <a:pt x="31" y="447"/>
                    </a:moveTo>
                    <a:cubicBezTo>
                      <a:pt x="14" y="447"/>
                      <a:pt x="0" y="433"/>
                      <a:pt x="0" y="416"/>
                    </a:cubicBezTo>
                    <a:cubicBezTo>
                      <a:pt x="0" y="416"/>
                      <a:pt x="0" y="416"/>
                      <a:pt x="0" y="416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4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702" y="0"/>
                      <a:pt x="702" y="0"/>
                      <a:pt x="702" y="0"/>
                    </a:cubicBezTo>
                    <a:cubicBezTo>
                      <a:pt x="719" y="0"/>
                      <a:pt x="733" y="13"/>
                      <a:pt x="733" y="30"/>
                    </a:cubicBezTo>
                    <a:cubicBezTo>
                      <a:pt x="733" y="30"/>
                      <a:pt x="733" y="30"/>
                      <a:pt x="733" y="30"/>
                    </a:cubicBezTo>
                    <a:cubicBezTo>
                      <a:pt x="733" y="52"/>
                      <a:pt x="733" y="52"/>
                      <a:pt x="733" y="52"/>
                    </a:cubicBezTo>
                    <a:cubicBezTo>
                      <a:pt x="733" y="57"/>
                      <a:pt x="729" y="60"/>
                      <a:pt x="725" y="60"/>
                    </a:cubicBezTo>
                    <a:cubicBezTo>
                      <a:pt x="725" y="60"/>
                      <a:pt x="725" y="60"/>
                      <a:pt x="725" y="60"/>
                    </a:cubicBezTo>
                    <a:cubicBezTo>
                      <a:pt x="720" y="60"/>
                      <a:pt x="717" y="57"/>
                      <a:pt x="717" y="52"/>
                    </a:cubicBezTo>
                    <a:cubicBezTo>
                      <a:pt x="717" y="52"/>
                      <a:pt x="717" y="52"/>
                      <a:pt x="717" y="52"/>
                    </a:cubicBezTo>
                    <a:cubicBezTo>
                      <a:pt x="717" y="30"/>
                      <a:pt x="717" y="30"/>
                      <a:pt x="717" y="30"/>
                    </a:cubicBezTo>
                    <a:cubicBezTo>
                      <a:pt x="717" y="22"/>
                      <a:pt x="710" y="16"/>
                      <a:pt x="702" y="16"/>
                    </a:cubicBezTo>
                    <a:cubicBezTo>
                      <a:pt x="702" y="16"/>
                      <a:pt x="702" y="16"/>
                      <a:pt x="702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2" y="16"/>
                      <a:pt x="16" y="22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416"/>
                      <a:pt x="16" y="416"/>
                      <a:pt x="16" y="416"/>
                    </a:cubicBezTo>
                    <a:cubicBezTo>
                      <a:pt x="16" y="424"/>
                      <a:pt x="22" y="431"/>
                      <a:pt x="31" y="431"/>
                    </a:cubicBezTo>
                    <a:cubicBezTo>
                      <a:pt x="31" y="431"/>
                      <a:pt x="31" y="431"/>
                      <a:pt x="31" y="431"/>
                    </a:cubicBezTo>
                    <a:cubicBezTo>
                      <a:pt x="702" y="431"/>
                      <a:pt x="702" y="431"/>
                      <a:pt x="702" y="431"/>
                    </a:cubicBezTo>
                    <a:cubicBezTo>
                      <a:pt x="710" y="431"/>
                      <a:pt x="717" y="424"/>
                      <a:pt x="717" y="416"/>
                    </a:cubicBezTo>
                    <a:cubicBezTo>
                      <a:pt x="717" y="416"/>
                      <a:pt x="717" y="416"/>
                      <a:pt x="717" y="416"/>
                    </a:cubicBezTo>
                    <a:cubicBezTo>
                      <a:pt x="717" y="82"/>
                      <a:pt x="717" y="82"/>
                      <a:pt x="717" y="82"/>
                    </a:cubicBezTo>
                    <a:cubicBezTo>
                      <a:pt x="717" y="82"/>
                      <a:pt x="717" y="82"/>
                      <a:pt x="717" y="82"/>
                    </a:cubicBezTo>
                    <a:cubicBezTo>
                      <a:pt x="717" y="77"/>
                      <a:pt x="720" y="74"/>
                      <a:pt x="725" y="74"/>
                    </a:cubicBezTo>
                    <a:cubicBezTo>
                      <a:pt x="725" y="74"/>
                      <a:pt x="725" y="74"/>
                      <a:pt x="725" y="74"/>
                    </a:cubicBezTo>
                    <a:cubicBezTo>
                      <a:pt x="729" y="74"/>
                      <a:pt x="733" y="77"/>
                      <a:pt x="733" y="82"/>
                    </a:cubicBezTo>
                    <a:cubicBezTo>
                      <a:pt x="733" y="82"/>
                      <a:pt x="733" y="82"/>
                      <a:pt x="733" y="82"/>
                    </a:cubicBezTo>
                    <a:cubicBezTo>
                      <a:pt x="733" y="416"/>
                      <a:pt x="733" y="416"/>
                      <a:pt x="733" y="416"/>
                    </a:cubicBezTo>
                    <a:cubicBezTo>
                      <a:pt x="733" y="433"/>
                      <a:pt x="719" y="447"/>
                      <a:pt x="702" y="447"/>
                    </a:cubicBezTo>
                    <a:cubicBezTo>
                      <a:pt x="702" y="447"/>
                      <a:pt x="702" y="447"/>
                      <a:pt x="702" y="447"/>
                    </a:cubicBezTo>
                    <a:cubicBezTo>
                      <a:pt x="31" y="447"/>
                      <a:pt x="31" y="447"/>
                      <a:pt x="31" y="4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6000" tIns="46800" rIns="126000" anchor="ctr"/>
              <a:lstStyle>
                <a:lvl1pPr>
                  <a:spcBef>
                    <a:spcPct val="20000"/>
                  </a:spcBef>
                  <a:buClr>
                    <a:srgbClr val="00A9D4"/>
                  </a:buClr>
                  <a:buFont typeface="Arial" panose="020B0604020202020204" pitchFamily="34" charset="0"/>
                  <a:buChar char="›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Ericsson Capital TT" panose="02000503000000020004" pitchFamily="2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92CCE5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Font typeface="Ericsson Capital TT" panose="02000503000000020004" pitchFamily="2" charset="0"/>
                  <a:buChar char="-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sv-FI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rPr>
                  <a:t>VNF</a:t>
                </a:r>
              </a:p>
            </p:txBody>
          </p:sp>
          <p:sp>
            <p:nvSpPr>
              <p:cNvPr id="15440" name="Freeform 18"/>
              <p:cNvSpPr>
                <a:spLocks noChangeAspect="1"/>
              </p:cNvSpPr>
              <p:nvPr/>
            </p:nvSpPr>
            <p:spPr bwMode="auto">
              <a:xfrm>
                <a:off x="7587674" y="5335547"/>
                <a:ext cx="769511" cy="470203"/>
              </a:xfrm>
              <a:custGeom>
                <a:avLst/>
                <a:gdLst>
                  <a:gd name="T0" fmla="*/ 2147483646 w 733"/>
                  <a:gd name="T1" fmla="*/ 2147483646 h 447"/>
                  <a:gd name="T2" fmla="*/ 0 w 733"/>
                  <a:gd name="T3" fmla="*/ 2147483646 h 447"/>
                  <a:gd name="T4" fmla="*/ 0 w 733"/>
                  <a:gd name="T5" fmla="*/ 2147483646 h 447"/>
                  <a:gd name="T6" fmla="*/ 0 w 733"/>
                  <a:gd name="T7" fmla="*/ 2147483646 h 447"/>
                  <a:gd name="T8" fmla="*/ 2147483646 w 733"/>
                  <a:gd name="T9" fmla="*/ 0 h 447"/>
                  <a:gd name="T10" fmla="*/ 2147483646 w 733"/>
                  <a:gd name="T11" fmla="*/ 0 h 447"/>
                  <a:gd name="T12" fmla="*/ 2147483646 w 733"/>
                  <a:gd name="T13" fmla="*/ 0 h 447"/>
                  <a:gd name="T14" fmla="*/ 2147483646 w 733"/>
                  <a:gd name="T15" fmla="*/ 2147483646 h 447"/>
                  <a:gd name="T16" fmla="*/ 2147483646 w 733"/>
                  <a:gd name="T17" fmla="*/ 2147483646 h 447"/>
                  <a:gd name="T18" fmla="*/ 2147483646 w 733"/>
                  <a:gd name="T19" fmla="*/ 2147483646 h 447"/>
                  <a:gd name="T20" fmla="*/ 2147483646 w 733"/>
                  <a:gd name="T21" fmla="*/ 2147483646 h 447"/>
                  <a:gd name="T22" fmla="*/ 2147483646 w 733"/>
                  <a:gd name="T23" fmla="*/ 2147483646 h 447"/>
                  <a:gd name="T24" fmla="*/ 2147483646 w 733"/>
                  <a:gd name="T25" fmla="*/ 2147483646 h 447"/>
                  <a:gd name="T26" fmla="*/ 2147483646 w 733"/>
                  <a:gd name="T27" fmla="*/ 2147483646 h 447"/>
                  <a:gd name="T28" fmla="*/ 2147483646 w 733"/>
                  <a:gd name="T29" fmla="*/ 2147483646 h 447"/>
                  <a:gd name="T30" fmla="*/ 2147483646 w 733"/>
                  <a:gd name="T31" fmla="*/ 2147483646 h 447"/>
                  <a:gd name="T32" fmla="*/ 2147483646 w 733"/>
                  <a:gd name="T33" fmla="*/ 2147483646 h 447"/>
                  <a:gd name="T34" fmla="*/ 2147483646 w 733"/>
                  <a:gd name="T35" fmla="*/ 2147483646 h 447"/>
                  <a:gd name="T36" fmla="*/ 2147483646 w 733"/>
                  <a:gd name="T37" fmla="*/ 2147483646 h 447"/>
                  <a:gd name="T38" fmla="*/ 2147483646 w 733"/>
                  <a:gd name="T39" fmla="*/ 2147483646 h 447"/>
                  <a:gd name="T40" fmla="*/ 2147483646 w 733"/>
                  <a:gd name="T41" fmla="*/ 2147483646 h 447"/>
                  <a:gd name="T42" fmla="*/ 2147483646 w 733"/>
                  <a:gd name="T43" fmla="*/ 2147483646 h 447"/>
                  <a:gd name="T44" fmla="*/ 2147483646 w 733"/>
                  <a:gd name="T45" fmla="*/ 2147483646 h 447"/>
                  <a:gd name="T46" fmla="*/ 2147483646 w 733"/>
                  <a:gd name="T47" fmla="*/ 2147483646 h 447"/>
                  <a:gd name="T48" fmla="*/ 2147483646 w 733"/>
                  <a:gd name="T49" fmla="*/ 2147483646 h 447"/>
                  <a:gd name="T50" fmla="*/ 2147483646 w 733"/>
                  <a:gd name="T51" fmla="*/ 2147483646 h 447"/>
                  <a:gd name="T52" fmla="*/ 2147483646 w 733"/>
                  <a:gd name="T53" fmla="*/ 2147483646 h 447"/>
                  <a:gd name="T54" fmla="*/ 2147483646 w 733"/>
                  <a:gd name="T55" fmla="*/ 2147483646 h 447"/>
                  <a:gd name="T56" fmla="*/ 2147483646 w 733"/>
                  <a:gd name="T57" fmla="*/ 2147483646 h 447"/>
                  <a:gd name="T58" fmla="*/ 2147483646 w 733"/>
                  <a:gd name="T59" fmla="*/ 2147483646 h 447"/>
                  <a:gd name="T60" fmla="*/ 2147483646 w 733"/>
                  <a:gd name="T61" fmla="*/ 2147483646 h 447"/>
                  <a:gd name="T62" fmla="*/ 2147483646 w 733"/>
                  <a:gd name="T63" fmla="*/ 2147483646 h 447"/>
                  <a:gd name="T64" fmla="*/ 2147483646 w 733"/>
                  <a:gd name="T65" fmla="*/ 2147483646 h 447"/>
                  <a:gd name="T66" fmla="*/ 2147483646 w 733"/>
                  <a:gd name="T67" fmla="*/ 2147483646 h 447"/>
                  <a:gd name="T68" fmla="*/ 2147483646 w 733"/>
                  <a:gd name="T69" fmla="*/ 2147483646 h 447"/>
                  <a:gd name="T70" fmla="*/ 2147483646 w 733"/>
                  <a:gd name="T71" fmla="*/ 2147483646 h 44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33"/>
                  <a:gd name="T109" fmla="*/ 0 h 447"/>
                  <a:gd name="T110" fmla="*/ 733 w 733"/>
                  <a:gd name="T111" fmla="*/ 447 h 44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33" h="447">
                    <a:moveTo>
                      <a:pt x="31" y="447"/>
                    </a:moveTo>
                    <a:cubicBezTo>
                      <a:pt x="14" y="447"/>
                      <a:pt x="0" y="433"/>
                      <a:pt x="0" y="416"/>
                    </a:cubicBezTo>
                    <a:cubicBezTo>
                      <a:pt x="0" y="416"/>
                      <a:pt x="0" y="416"/>
                      <a:pt x="0" y="416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13"/>
                      <a:pt x="14" y="0"/>
                      <a:pt x="31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702" y="0"/>
                      <a:pt x="702" y="0"/>
                      <a:pt x="702" y="0"/>
                    </a:cubicBezTo>
                    <a:cubicBezTo>
                      <a:pt x="719" y="0"/>
                      <a:pt x="733" y="13"/>
                      <a:pt x="733" y="30"/>
                    </a:cubicBezTo>
                    <a:cubicBezTo>
                      <a:pt x="733" y="30"/>
                      <a:pt x="733" y="30"/>
                      <a:pt x="733" y="30"/>
                    </a:cubicBezTo>
                    <a:cubicBezTo>
                      <a:pt x="733" y="52"/>
                      <a:pt x="733" y="52"/>
                      <a:pt x="733" y="52"/>
                    </a:cubicBezTo>
                    <a:cubicBezTo>
                      <a:pt x="733" y="57"/>
                      <a:pt x="729" y="60"/>
                      <a:pt x="725" y="60"/>
                    </a:cubicBezTo>
                    <a:cubicBezTo>
                      <a:pt x="725" y="60"/>
                      <a:pt x="725" y="60"/>
                      <a:pt x="725" y="60"/>
                    </a:cubicBezTo>
                    <a:cubicBezTo>
                      <a:pt x="720" y="60"/>
                      <a:pt x="717" y="57"/>
                      <a:pt x="717" y="52"/>
                    </a:cubicBezTo>
                    <a:cubicBezTo>
                      <a:pt x="717" y="52"/>
                      <a:pt x="717" y="52"/>
                      <a:pt x="717" y="52"/>
                    </a:cubicBezTo>
                    <a:cubicBezTo>
                      <a:pt x="717" y="30"/>
                      <a:pt x="717" y="30"/>
                      <a:pt x="717" y="30"/>
                    </a:cubicBezTo>
                    <a:cubicBezTo>
                      <a:pt x="717" y="22"/>
                      <a:pt x="710" y="16"/>
                      <a:pt x="702" y="16"/>
                    </a:cubicBezTo>
                    <a:cubicBezTo>
                      <a:pt x="702" y="16"/>
                      <a:pt x="702" y="16"/>
                      <a:pt x="702" y="16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22" y="16"/>
                      <a:pt x="16" y="22"/>
                      <a:pt x="16" y="30"/>
                    </a:cubicBezTo>
                    <a:cubicBezTo>
                      <a:pt x="16" y="30"/>
                      <a:pt x="16" y="30"/>
                      <a:pt x="16" y="30"/>
                    </a:cubicBezTo>
                    <a:cubicBezTo>
                      <a:pt x="16" y="416"/>
                      <a:pt x="16" y="416"/>
                      <a:pt x="16" y="416"/>
                    </a:cubicBezTo>
                    <a:cubicBezTo>
                      <a:pt x="16" y="424"/>
                      <a:pt x="22" y="431"/>
                      <a:pt x="31" y="431"/>
                    </a:cubicBezTo>
                    <a:cubicBezTo>
                      <a:pt x="31" y="431"/>
                      <a:pt x="31" y="431"/>
                      <a:pt x="31" y="431"/>
                    </a:cubicBezTo>
                    <a:cubicBezTo>
                      <a:pt x="702" y="431"/>
                      <a:pt x="702" y="431"/>
                      <a:pt x="702" y="431"/>
                    </a:cubicBezTo>
                    <a:cubicBezTo>
                      <a:pt x="710" y="431"/>
                      <a:pt x="717" y="424"/>
                      <a:pt x="717" y="416"/>
                    </a:cubicBezTo>
                    <a:cubicBezTo>
                      <a:pt x="717" y="416"/>
                      <a:pt x="717" y="416"/>
                      <a:pt x="717" y="416"/>
                    </a:cubicBezTo>
                    <a:cubicBezTo>
                      <a:pt x="717" y="82"/>
                      <a:pt x="717" y="82"/>
                      <a:pt x="717" y="82"/>
                    </a:cubicBezTo>
                    <a:cubicBezTo>
                      <a:pt x="717" y="82"/>
                      <a:pt x="717" y="82"/>
                      <a:pt x="717" y="82"/>
                    </a:cubicBezTo>
                    <a:cubicBezTo>
                      <a:pt x="717" y="77"/>
                      <a:pt x="720" y="74"/>
                      <a:pt x="725" y="74"/>
                    </a:cubicBezTo>
                    <a:cubicBezTo>
                      <a:pt x="725" y="74"/>
                      <a:pt x="725" y="74"/>
                      <a:pt x="725" y="74"/>
                    </a:cubicBezTo>
                    <a:cubicBezTo>
                      <a:pt x="729" y="74"/>
                      <a:pt x="733" y="77"/>
                      <a:pt x="733" y="82"/>
                    </a:cubicBezTo>
                    <a:cubicBezTo>
                      <a:pt x="733" y="82"/>
                      <a:pt x="733" y="82"/>
                      <a:pt x="733" y="82"/>
                    </a:cubicBezTo>
                    <a:cubicBezTo>
                      <a:pt x="733" y="416"/>
                      <a:pt x="733" y="416"/>
                      <a:pt x="733" y="416"/>
                    </a:cubicBezTo>
                    <a:cubicBezTo>
                      <a:pt x="733" y="433"/>
                      <a:pt x="719" y="447"/>
                      <a:pt x="702" y="447"/>
                    </a:cubicBezTo>
                    <a:cubicBezTo>
                      <a:pt x="702" y="447"/>
                      <a:pt x="702" y="447"/>
                      <a:pt x="702" y="447"/>
                    </a:cubicBezTo>
                    <a:cubicBezTo>
                      <a:pt x="31" y="447"/>
                      <a:pt x="31" y="447"/>
                      <a:pt x="31" y="44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26000" tIns="46800" rIns="126000" anchor="ctr"/>
              <a:lstStyle>
                <a:lvl1pPr>
                  <a:spcBef>
                    <a:spcPct val="20000"/>
                  </a:spcBef>
                  <a:buClr>
                    <a:srgbClr val="00A9D4"/>
                  </a:buClr>
                  <a:buFont typeface="Arial" panose="020B0604020202020204" pitchFamily="34" charset="0"/>
                  <a:buChar char="›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chemeClr val="tx1"/>
                  </a:buClr>
                  <a:buFont typeface="Ericsson Capital TT" panose="02000503000000020004" pitchFamily="2" charset="0"/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92CCE5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chemeClr val="tx1"/>
                  </a:buClr>
                  <a:buFont typeface="Ericsson Capital TT" panose="02000503000000020004" pitchFamily="2" charset="0"/>
                  <a:buChar char="-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1"/>
                  </a:buClr>
                  <a:buFont typeface="Ericsson Capital TT" panose="02000503000000020004" pitchFamily="2" charset="0"/>
                  <a:buChar char="›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sv-FI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</a:rPr>
                  <a:t>VNF</a:t>
                </a:r>
              </a:p>
            </p:txBody>
          </p:sp>
        </p:grpSp>
        <p:sp>
          <p:nvSpPr>
            <p:cNvPr id="15435" name="Freeform 6"/>
            <p:cNvSpPr>
              <a:spLocks noChangeAspect="1"/>
            </p:cNvSpPr>
            <p:nvPr/>
          </p:nvSpPr>
          <p:spPr bwMode="auto">
            <a:xfrm>
              <a:off x="2524449" y="3827893"/>
              <a:ext cx="1810186" cy="1511778"/>
            </a:xfrm>
            <a:custGeom>
              <a:avLst/>
              <a:gdLst>
                <a:gd name="T0" fmla="*/ 2147483646 w 545"/>
                <a:gd name="T1" fmla="*/ 2147483646 h 455"/>
                <a:gd name="T2" fmla="*/ 0 w 545"/>
                <a:gd name="T3" fmla="*/ 2147483646 h 455"/>
                <a:gd name="T4" fmla="*/ 0 w 545"/>
                <a:gd name="T5" fmla="*/ 2147483646 h 455"/>
                <a:gd name="T6" fmla="*/ 0 w 545"/>
                <a:gd name="T7" fmla="*/ 2147483646 h 455"/>
                <a:gd name="T8" fmla="*/ 2147483646 w 545"/>
                <a:gd name="T9" fmla="*/ 0 h 455"/>
                <a:gd name="T10" fmla="*/ 2147483646 w 545"/>
                <a:gd name="T11" fmla="*/ 0 h 455"/>
                <a:gd name="T12" fmla="*/ 2147483646 w 545"/>
                <a:gd name="T13" fmla="*/ 0 h 455"/>
                <a:gd name="T14" fmla="*/ 2147483646 w 545"/>
                <a:gd name="T15" fmla="*/ 2147483646 h 455"/>
                <a:gd name="T16" fmla="*/ 2147483646 w 545"/>
                <a:gd name="T17" fmla="*/ 2147483646 h 455"/>
                <a:gd name="T18" fmla="*/ 2147483646 w 545"/>
                <a:gd name="T19" fmla="*/ 2147483646 h 455"/>
                <a:gd name="T20" fmla="*/ 2147483646 w 545"/>
                <a:gd name="T21" fmla="*/ 2147483646 h 455"/>
                <a:gd name="T22" fmla="*/ 2147483646 w 545"/>
                <a:gd name="T23" fmla="*/ 2147483646 h 455"/>
                <a:gd name="T24" fmla="*/ 2147483646 w 545"/>
                <a:gd name="T25" fmla="*/ 2147483646 h 455"/>
                <a:gd name="T26" fmla="*/ 2147483646 w 545"/>
                <a:gd name="T27" fmla="*/ 2147483646 h 455"/>
                <a:gd name="T28" fmla="*/ 2147483646 w 545"/>
                <a:gd name="T29" fmla="*/ 2147483646 h 455"/>
                <a:gd name="T30" fmla="*/ 2147483646 w 545"/>
                <a:gd name="T31" fmla="*/ 2147483646 h 455"/>
                <a:gd name="T32" fmla="*/ 2147483646 w 545"/>
                <a:gd name="T33" fmla="*/ 2147483646 h 455"/>
                <a:gd name="T34" fmla="*/ 2147483646 w 545"/>
                <a:gd name="T35" fmla="*/ 2147483646 h 455"/>
                <a:gd name="T36" fmla="*/ 2147483646 w 545"/>
                <a:gd name="T37" fmla="*/ 2147483646 h 455"/>
                <a:gd name="T38" fmla="*/ 2147483646 w 545"/>
                <a:gd name="T39" fmla="*/ 2147483646 h 455"/>
                <a:gd name="T40" fmla="*/ 2147483646 w 545"/>
                <a:gd name="T41" fmla="*/ 2147483646 h 455"/>
                <a:gd name="T42" fmla="*/ 2147483646 w 545"/>
                <a:gd name="T43" fmla="*/ 2147483646 h 455"/>
                <a:gd name="T44" fmla="*/ 2147483646 w 545"/>
                <a:gd name="T45" fmla="*/ 2147483646 h 455"/>
                <a:gd name="T46" fmla="*/ 2147483646 w 545"/>
                <a:gd name="T47" fmla="*/ 2147483646 h 455"/>
                <a:gd name="T48" fmla="*/ 2147483646 w 545"/>
                <a:gd name="T49" fmla="*/ 2147483646 h 455"/>
                <a:gd name="T50" fmla="*/ 2147483646 w 545"/>
                <a:gd name="T51" fmla="*/ 2147483646 h 455"/>
                <a:gd name="T52" fmla="*/ 2147483646 w 545"/>
                <a:gd name="T53" fmla="*/ 2147483646 h 455"/>
                <a:gd name="T54" fmla="*/ 2147483646 w 545"/>
                <a:gd name="T55" fmla="*/ 2147483646 h 455"/>
                <a:gd name="T56" fmla="*/ 2147483646 w 545"/>
                <a:gd name="T57" fmla="*/ 2147483646 h 455"/>
                <a:gd name="T58" fmla="*/ 2147483646 w 545"/>
                <a:gd name="T59" fmla="*/ 2147483646 h 455"/>
                <a:gd name="T60" fmla="*/ 2147483646 w 545"/>
                <a:gd name="T61" fmla="*/ 2147483646 h 455"/>
                <a:gd name="T62" fmla="*/ 2147483646 w 545"/>
                <a:gd name="T63" fmla="*/ 2147483646 h 455"/>
                <a:gd name="T64" fmla="*/ 2147483646 w 545"/>
                <a:gd name="T65" fmla="*/ 2147483646 h 455"/>
                <a:gd name="T66" fmla="*/ 2147483646 w 545"/>
                <a:gd name="T67" fmla="*/ 2147483646 h 455"/>
                <a:gd name="T68" fmla="*/ 2147483646 w 545"/>
                <a:gd name="T69" fmla="*/ 2147483646 h 45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45"/>
                <a:gd name="T106" fmla="*/ 0 h 455"/>
                <a:gd name="T107" fmla="*/ 545 w 545"/>
                <a:gd name="T108" fmla="*/ 455 h 45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45" h="455">
                  <a:moveTo>
                    <a:pt x="31" y="455"/>
                  </a:moveTo>
                  <a:cubicBezTo>
                    <a:pt x="14" y="455"/>
                    <a:pt x="0" y="441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515" y="0"/>
                    <a:pt x="515" y="0"/>
                    <a:pt x="515" y="0"/>
                  </a:cubicBezTo>
                  <a:cubicBezTo>
                    <a:pt x="532" y="0"/>
                    <a:pt x="545" y="13"/>
                    <a:pt x="545" y="30"/>
                  </a:cubicBezTo>
                  <a:cubicBezTo>
                    <a:pt x="545" y="30"/>
                    <a:pt x="545" y="30"/>
                    <a:pt x="545" y="30"/>
                  </a:cubicBezTo>
                  <a:cubicBezTo>
                    <a:pt x="545" y="52"/>
                    <a:pt x="545" y="52"/>
                    <a:pt x="545" y="52"/>
                  </a:cubicBezTo>
                  <a:cubicBezTo>
                    <a:pt x="545" y="57"/>
                    <a:pt x="542" y="60"/>
                    <a:pt x="537" y="60"/>
                  </a:cubicBezTo>
                  <a:cubicBezTo>
                    <a:pt x="537" y="60"/>
                    <a:pt x="537" y="60"/>
                    <a:pt x="537" y="60"/>
                  </a:cubicBezTo>
                  <a:cubicBezTo>
                    <a:pt x="533" y="60"/>
                    <a:pt x="529" y="57"/>
                    <a:pt x="529" y="52"/>
                  </a:cubicBezTo>
                  <a:cubicBezTo>
                    <a:pt x="529" y="52"/>
                    <a:pt x="529" y="52"/>
                    <a:pt x="529" y="52"/>
                  </a:cubicBezTo>
                  <a:cubicBezTo>
                    <a:pt x="529" y="30"/>
                    <a:pt x="529" y="30"/>
                    <a:pt x="529" y="30"/>
                  </a:cubicBezTo>
                  <a:cubicBezTo>
                    <a:pt x="529" y="22"/>
                    <a:pt x="523" y="16"/>
                    <a:pt x="515" y="16"/>
                  </a:cubicBezTo>
                  <a:cubicBezTo>
                    <a:pt x="515" y="16"/>
                    <a:pt x="515" y="16"/>
                    <a:pt x="515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3" y="16"/>
                    <a:pt x="16" y="22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424"/>
                    <a:pt x="16" y="424"/>
                    <a:pt x="16" y="424"/>
                  </a:cubicBezTo>
                  <a:cubicBezTo>
                    <a:pt x="16" y="432"/>
                    <a:pt x="23" y="439"/>
                    <a:pt x="31" y="439"/>
                  </a:cubicBezTo>
                  <a:cubicBezTo>
                    <a:pt x="31" y="439"/>
                    <a:pt x="31" y="439"/>
                    <a:pt x="31" y="439"/>
                  </a:cubicBezTo>
                  <a:cubicBezTo>
                    <a:pt x="515" y="439"/>
                    <a:pt x="515" y="439"/>
                    <a:pt x="515" y="439"/>
                  </a:cubicBezTo>
                  <a:cubicBezTo>
                    <a:pt x="523" y="439"/>
                    <a:pt x="529" y="432"/>
                    <a:pt x="529" y="424"/>
                  </a:cubicBezTo>
                  <a:cubicBezTo>
                    <a:pt x="529" y="424"/>
                    <a:pt x="529" y="424"/>
                    <a:pt x="529" y="424"/>
                  </a:cubicBezTo>
                  <a:cubicBezTo>
                    <a:pt x="529" y="82"/>
                    <a:pt x="529" y="82"/>
                    <a:pt x="529" y="82"/>
                  </a:cubicBezTo>
                  <a:cubicBezTo>
                    <a:pt x="529" y="77"/>
                    <a:pt x="533" y="74"/>
                    <a:pt x="537" y="74"/>
                  </a:cubicBezTo>
                  <a:cubicBezTo>
                    <a:pt x="537" y="74"/>
                    <a:pt x="537" y="74"/>
                    <a:pt x="537" y="74"/>
                  </a:cubicBezTo>
                  <a:cubicBezTo>
                    <a:pt x="542" y="74"/>
                    <a:pt x="545" y="77"/>
                    <a:pt x="545" y="82"/>
                  </a:cubicBezTo>
                  <a:cubicBezTo>
                    <a:pt x="545" y="82"/>
                    <a:pt x="545" y="82"/>
                    <a:pt x="545" y="82"/>
                  </a:cubicBezTo>
                  <a:cubicBezTo>
                    <a:pt x="545" y="424"/>
                    <a:pt x="545" y="424"/>
                    <a:pt x="545" y="424"/>
                  </a:cubicBezTo>
                  <a:cubicBezTo>
                    <a:pt x="545" y="441"/>
                    <a:pt x="532" y="455"/>
                    <a:pt x="515" y="455"/>
                  </a:cubicBezTo>
                  <a:cubicBezTo>
                    <a:pt x="515" y="455"/>
                    <a:pt x="515" y="455"/>
                    <a:pt x="515" y="455"/>
                  </a:cubicBezTo>
                  <a:cubicBezTo>
                    <a:pt x="31" y="455"/>
                    <a:pt x="31" y="455"/>
                    <a:pt x="31" y="4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6000" tIns="82800" rIns="126000"/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Virtualization</a:t>
              </a:r>
            </a:p>
          </p:txBody>
        </p:sp>
      </p:grpSp>
      <p:grpSp>
        <p:nvGrpSpPr>
          <p:cNvPr id="15390" name="Group 26685"/>
          <p:cNvGrpSpPr>
            <a:grpSpLocks/>
          </p:cNvGrpSpPr>
          <p:nvPr/>
        </p:nvGrpSpPr>
        <p:grpSpPr bwMode="auto">
          <a:xfrm>
            <a:off x="6292850" y="3802063"/>
            <a:ext cx="1809750" cy="1512887"/>
            <a:chOff x="4389944" y="3827893"/>
            <a:chExt cx="1810186" cy="1511778"/>
          </a:xfrm>
        </p:grpSpPr>
        <p:sp>
          <p:nvSpPr>
            <p:cNvPr id="15428" name="Freeform 6"/>
            <p:cNvSpPr>
              <a:spLocks noChangeAspect="1"/>
            </p:cNvSpPr>
            <p:nvPr/>
          </p:nvSpPr>
          <p:spPr bwMode="auto">
            <a:xfrm>
              <a:off x="4389944" y="3827893"/>
              <a:ext cx="1810186" cy="1511778"/>
            </a:xfrm>
            <a:custGeom>
              <a:avLst/>
              <a:gdLst>
                <a:gd name="T0" fmla="*/ 2147483646 w 545"/>
                <a:gd name="T1" fmla="*/ 2147483646 h 455"/>
                <a:gd name="T2" fmla="*/ 0 w 545"/>
                <a:gd name="T3" fmla="*/ 2147483646 h 455"/>
                <a:gd name="T4" fmla="*/ 0 w 545"/>
                <a:gd name="T5" fmla="*/ 2147483646 h 455"/>
                <a:gd name="T6" fmla="*/ 0 w 545"/>
                <a:gd name="T7" fmla="*/ 2147483646 h 455"/>
                <a:gd name="T8" fmla="*/ 2147483646 w 545"/>
                <a:gd name="T9" fmla="*/ 0 h 455"/>
                <a:gd name="T10" fmla="*/ 2147483646 w 545"/>
                <a:gd name="T11" fmla="*/ 0 h 455"/>
                <a:gd name="T12" fmla="*/ 2147483646 w 545"/>
                <a:gd name="T13" fmla="*/ 0 h 455"/>
                <a:gd name="T14" fmla="*/ 2147483646 w 545"/>
                <a:gd name="T15" fmla="*/ 2147483646 h 455"/>
                <a:gd name="T16" fmla="*/ 2147483646 w 545"/>
                <a:gd name="T17" fmla="*/ 2147483646 h 455"/>
                <a:gd name="T18" fmla="*/ 2147483646 w 545"/>
                <a:gd name="T19" fmla="*/ 2147483646 h 455"/>
                <a:gd name="T20" fmla="*/ 2147483646 w 545"/>
                <a:gd name="T21" fmla="*/ 2147483646 h 455"/>
                <a:gd name="T22" fmla="*/ 2147483646 w 545"/>
                <a:gd name="T23" fmla="*/ 2147483646 h 455"/>
                <a:gd name="T24" fmla="*/ 2147483646 w 545"/>
                <a:gd name="T25" fmla="*/ 2147483646 h 455"/>
                <a:gd name="T26" fmla="*/ 2147483646 w 545"/>
                <a:gd name="T27" fmla="*/ 2147483646 h 455"/>
                <a:gd name="T28" fmla="*/ 2147483646 w 545"/>
                <a:gd name="T29" fmla="*/ 2147483646 h 455"/>
                <a:gd name="T30" fmla="*/ 2147483646 w 545"/>
                <a:gd name="T31" fmla="*/ 2147483646 h 455"/>
                <a:gd name="T32" fmla="*/ 2147483646 w 545"/>
                <a:gd name="T33" fmla="*/ 2147483646 h 455"/>
                <a:gd name="T34" fmla="*/ 2147483646 w 545"/>
                <a:gd name="T35" fmla="*/ 2147483646 h 455"/>
                <a:gd name="T36" fmla="*/ 2147483646 w 545"/>
                <a:gd name="T37" fmla="*/ 2147483646 h 455"/>
                <a:gd name="T38" fmla="*/ 2147483646 w 545"/>
                <a:gd name="T39" fmla="*/ 2147483646 h 455"/>
                <a:gd name="T40" fmla="*/ 2147483646 w 545"/>
                <a:gd name="T41" fmla="*/ 2147483646 h 455"/>
                <a:gd name="T42" fmla="*/ 2147483646 w 545"/>
                <a:gd name="T43" fmla="*/ 2147483646 h 455"/>
                <a:gd name="T44" fmla="*/ 2147483646 w 545"/>
                <a:gd name="T45" fmla="*/ 2147483646 h 455"/>
                <a:gd name="T46" fmla="*/ 2147483646 w 545"/>
                <a:gd name="T47" fmla="*/ 2147483646 h 455"/>
                <a:gd name="T48" fmla="*/ 2147483646 w 545"/>
                <a:gd name="T49" fmla="*/ 2147483646 h 455"/>
                <a:gd name="T50" fmla="*/ 2147483646 w 545"/>
                <a:gd name="T51" fmla="*/ 2147483646 h 455"/>
                <a:gd name="T52" fmla="*/ 2147483646 w 545"/>
                <a:gd name="T53" fmla="*/ 2147483646 h 455"/>
                <a:gd name="T54" fmla="*/ 2147483646 w 545"/>
                <a:gd name="T55" fmla="*/ 2147483646 h 455"/>
                <a:gd name="T56" fmla="*/ 2147483646 w 545"/>
                <a:gd name="T57" fmla="*/ 2147483646 h 455"/>
                <a:gd name="T58" fmla="*/ 2147483646 w 545"/>
                <a:gd name="T59" fmla="*/ 2147483646 h 455"/>
                <a:gd name="T60" fmla="*/ 2147483646 w 545"/>
                <a:gd name="T61" fmla="*/ 2147483646 h 455"/>
                <a:gd name="T62" fmla="*/ 2147483646 w 545"/>
                <a:gd name="T63" fmla="*/ 2147483646 h 455"/>
                <a:gd name="T64" fmla="*/ 2147483646 w 545"/>
                <a:gd name="T65" fmla="*/ 2147483646 h 455"/>
                <a:gd name="T66" fmla="*/ 2147483646 w 545"/>
                <a:gd name="T67" fmla="*/ 2147483646 h 455"/>
                <a:gd name="T68" fmla="*/ 2147483646 w 545"/>
                <a:gd name="T69" fmla="*/ 2147483646 h 45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45"/>
                <a:gd name="T106" fmla="*/ 0 h 455"/>
                <a:gd name="T107" fmla="*/ 545 w 545"/>
                <a:gd name="T108" fmla="*/ 455 h 45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45" h="455">
                  <a:moveTo>
                    <a:pt x="31" y="455"/>
                  </a:moveTo>
                  <a:cubicBezTo>
                    <a:pt x="14" y="455"/>
                    <a:pt x="0" y="441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515" y="0"/>
                    <a:pt x="515" y="0"/>
                    <a:pt x="515" y="0"/>
                  </a:cubicBezTo>
                  <a:cubicBezTo>
                    <a:pt x="532" y="0"/>
                    <a:pt x="545" y="13"/>
                    <a:pt x="545" y="30"/>
                  </a:cubicBezTo>
                  <a:cubicBezTo>
                    <a:pt x="545" y="30"/>
                    <a:pt x="545" y="30"/>
                    <a:pt x="545" y="30"/>
                  </a:cubicBezTo>
                  <a:cubicBezTo>
                    <a:pt x="545" y="52"/>
                    <a:pt x="545" y="52"/>
                    <a:pt x="545" y="52"/>
                  </a:cubicBezTo>
                  <a:cubicBezTo>
                    <a:pt x="545" y="57"/>
                    <a:pt x="542" y="60"/>
                    <a:pt x="537" y="60"/>
                  </a:cubicBezTo>
                  <a:cubicBezTo>
                    <a:pt x="537" y="60"/>
                    <a:pt x="537" y="60"/>
                    <a:pt x="537" y="60"/>
                  </a:cubicBezTo>
                  <a:cubicBezTo>
                    <a:pt x="533" y="60"/>
                    <a:pt x="529" y="57"/>
                    <a:pt x="529" y="52"/>
                  </a:cubicBezTo>
                  <a:cubicBezTo>
                    <a:pt x="529" y="52"/>
                    <a:pt x="529" y="52"/>
                    <a:pt x="529" y="52"/>
                  </a:cubicBezTo>
                  <a:cubicBezTo>
                    <a:pt x="529" y="30"/>
                    <a:pt x="529" y="30"/>
                    <a:pt x="529" y="30"/>
                  </a:cubicBezTo>
                  <a:cubicBezTo>
                    <a:pt x="529" y="22"/>
                    <a:pt x="523" y="16"/>
                    <a:pt x="515" y="16"/>
                  </a:cubicBezTo>
                  <a:cubicBezTo>
                    <a:pt x="515" y="16"/>
                    <a:pt x="515" y="16"/>
                    <a:pt x="515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3" y="16"/>
                    <a:pt x="16" y="22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424"/>
                    <a:pt x="16" y="424"/>
                    <a:pt x="16" y="424"/>
                  </a:cubicBezTo>
                  <a:cubicBezTo>
                    <a:pt x="16" y="432"/>
                    <a:pt x="23" y="439"/>
                    <a:pt x="31" y="439"/>
                  </a:cubicBezTo>
                  <a:cubicBezTo>
                    <a:pt x="31" y="439"/>
                    <a:pt x="31" y="439"/>
                    <a:pt x="31" y="439"/>
                  </a:cubicBezTo>
                  <a:cubicBezTo>
                    <a:pt x="515" y="439"/>
                    <a:pt x="515" y="439"/>
                    <a:pt x="515" y="439"/>
                  </a:cubicBezTo>
                  <a:cubicBezTo>
                    <a:pt x="523" y="439"/>
                    <a:pt x="529" y="432"/>
                    <a:pt x="529" y="424"/>
                  </a:cubicBezTo>
                  <a:cubicBezTo>
                    <a:pt x="529" y="424"/>
                    <a:pt x="529" y="424"/>
                    <a:pt x="529" y="424"/>
                  </a:cubicBezTo>
                  <a:cubicBezTo>
                    <a:pt x="529" y="82"/>
                    <a:pt x="529" y="82"/>
                    <a:pt x="529" y="82"/>
                  </a:cubicBezTo>
                  <a:cubicBezTo>
                    <a:pt x="529" y="77"/>
                    <a:pt x="533" y="74"/>
                    <a:pt x="537" y="74"/>
                  </a:cubicBezTo>
                  <a:cubicBezTo>
                    <a:pt x="537" y="74"/>
                    <a:pt x="537" y="74"/>
                    <a:pt x="537" y="74"/>
                  </a:cubicBezTo>
                  <a:cubicBezTo>
                    <a:pt x="542" y="74"/>
                    <a:pt x="545" y="77"/>
                    <a:pt x="545" y="82"/>
                  </a:cubicBezTo>
                  <a:cubicBezTo>
                    <a:pt x="545" y="82"/>
                    <a:pt x="545" y="82"/>
                    <a:pt x="545" y="82"/>
                  </a:cubicBezTo>
                  <a:cubicBezTo>
                    <a:pt x="545" y="424"/>
                    <a:pt x="545" y="424"/>
                    <a:pt x="545" y="424"/>
                  </a:cubicBezTo>
                  <a:cubicBezTo>
                    <a:pt x="545" y="441"/>
                    <a:pt x="532" y="455"/>
                    <a:pt x="515" y="455"/>
                  </a:cubicBezTo>
                  <a:cubicBezTo>
                    <a:pt x="515" y="455"/>
                    <a:pt x="515" y="455"/>
                    <a:pt x="515" y="455"/>
                  </a:cubicBezTo>
                  <a:cubicBezTo>
                    <a:pt x="31" y="455"/>
                    <a:pt x="31" y="455"/>
                    <a:pt x="31" y="4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6000" tIns="82800" rIns="126000"/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Software Defined Networking (SDN)</a:t>
              </a:r>
            </a:p>
          </p:txBody>
        </p:sp>
        <p:grpSp>
          <p:nvGrpSpPr>
            <p:cNvPr id="15429" name="Group 50"/>
            <p:cNvGrpSpPr>
              <a:grpSpLocks noChangeAspect="1"/>
            </p:cNvGrpSpPr>
            <p:nvPr/>
          </p:nvGrpSpPr>
          <p:grpSpPr bwMode="auto">
            <a:xfrm>
              <a:off x="4548632" y="4440342"/>
              <a:ext cx="1492811" cy="725654"/>
              <a:chOff x="9544050" y="3587750"/>
              <a:chExt cx="2181225" cy="1060450"/>
            </a:xfrm>
          </p:grpSpPr>
          <p:sp>
            <p:nvSpPr>
              <p:cNvPr id="15430" name="Freeform 3"/>
              <p:cNvSpPr>
                <a:spLocks noChangeAspect="1" noEditPoints="1"/>
              </p:cNvSpPr>
              <p:nvPr/>
            </p:nvSpPr>
            <p:spPr bwMode="auto">
              <a:xfrm>
                <a:off x="9543401" y="3960113"/>
                <a:ext cx="1085563" cy="689018"/>
              </a:xfrm>
              <a:custGeom>
                <a:avLst/>
                <a:gdLst>
                  <a:gd name="T0" fmla="*/ 2147483646 w 462"/>
                  <a:gd name="T1" fmla="*/ 2147483646 h 293"/>
                  <a:gd name="T2" fmla="*/ 2147483646 w 462"/>
                  <a:gd name="T3" fmla="*/ 2147483646 h 293"/>
                  <a:gd name="T4" fmla="*/ 2147483646 w 462"/>
                  <a:gd name="T5" fmla="*/ 2147483646 h 293"/>
                  <a:gd name="T6" fmla="*/ 2147483646 w 462"/>
                  <a:gd name="T7" fmla="*/ 2147483646 h 293"/>
                  <a:gd name="T8" fmla="*/ 2147483646 w 462"/>
                  <a:gd name="T9" fmla="*/ 2147483646 h 293"/>
                  <a:gd name="T10" fmla="*/ 2147483646 w 462"/>
                  <a:gd name="T11" fmla="*/ 2147483646 h 293"/>
                  <a:gd name="T12" fmla="*/ 2147483646 w 462"/>
                  <a:gd name="T13" fmla="*/ 2147483646 h 293"/>
                  <a:gd name="T14" fmla="*/ 2147483646 w 462"/>
                  <a:gd name="T15" fmla="*/ 2147483646 h 293"/>
                  <a:gd name="T16" fmla="*/ 2147483646 w 462"/>
                  <a:gd name="T17" fmla="*/ 2147483646 h 293"/>
                  <a:gd name="T18" fmla="*/ 2147483646 w 462"/>
                  <a:gd name="T19" fmla="*/ 2147483646 h 293"/>
                  <a:gd name="T20" fmla="*/ 2147483646 w 462"/>
                  <a:gd name="T21" fmla="*/ 2147483646 h 293"/>
                  <a:gd name="T22" fmla="*/ 2147483646 w 462"/>
                  <a:gd name="T23" fmla="*/ 2147483646 h 293"/>
                  <a:gd name="T24" fmla="*/ 2147483646 w 462"/>
                  <a:gd name="T25" fmla="*/ 2147483646 h 293"/>
                  <a:gd name="T26" fmla="*/ 2147483646 w 462"/>
                  <a:gd name="T27" fmla="*/ 2147483646 h 293"/>
                  <a:gd name="T28" fmla="*/ 2147483646 w 462"/>
                  <a:gd name="T29" fmla="*/ 2147483646 h 293"/>
                  <a:gd name="T30" fmla="*/ 2147483646 w 462"/>
                  <a:gd name="T31" fmla="*/ 2147483646 h 293"/>
                  <a:gd name="T32" fmla="*/ 2147483646 w 462"/>
                  <a:gd name="T33" fmla="*/ 2147483646 h 293"/>
                  <a:gd name="T34" fmla="*/ 2147483646 w 462"/>
                  <a:gd name="T35" fmla="*/ 2147483646 h 293"/>
                  <a:gd name="T36" fmla="*/ 2147483646 w 462"/>
                  <a:gd name="T37" fmla="*/ 2147483646 h 293"/>
                  <a:gd name="T38" fmla="*/ 2147483646 w 462"/>
                  <a:gd name="T39" fmla="*/ 2147483646 h 293"/>
                  <a:gd name="T40" fmla="*/ 2147483646 w 462"/>
                  <a:gd name="T41" fmla="*/ 2147483646 h 293"/>
                  <a:gd name="T42" fmla="*/ 2147483646 w 462"/>
                  <a:gd name="T43" fmla="*/ 2147483646 h 293"/>
                  <a:gd name="T44" fmla="*/ 2147483646 w 462"/>
                  <a:gd name="T45" fmla="*/ 2147483646 h 293"/>
                  <a:gd name="T46" fmla="*/ 2147483646 w 462"/>
                  <a:gd name="T47" fmla="*/ 2147483646 h 293"/>
                  <a:gd name="T48" fmla="*/ 2147483646 w 462"/>
                  <a:gd name="T49" fmla="*/ 2147483646 h 293"/>
                  <a:gd name="T50" fmla="*/ 2147483646 w 462"/>
                  <a:gd name="T51" fmla="*/ 2147483646 h 293"/>
                  <a:gd name="T52" fmla="*/ 2147483646 w 462"/>
                  <a:gd name="T53" fmla="*/ 2147483646 h 293"/>
                  <a:gd name="T54" fmla="*/ 2147483646 w 462"/>
                  <a:gd name="T55" fmla="*/ 2147483646 h 293"/>
                  <a:gd name="T56" fmla="*/ 2147483646 w 462"/>
                  <a:gd name="T57" fmla="*/ 2147483646 h 293"/>
                  <a:gd name="T58" fmla="*/ 2147483646 w 462"/>
                  <a:gd name="T59" fmla="*/ 2147483646 h 293"/>
                  <a:gd name="T60" fmla="*/ 2147483646 w 462"/>
                  <a:gd name="T61" fmla="*/ 2147483646 h 293"/>
                  <a:gd name="T62" fmla="*/ 2147483646 w 462"/>
                  <a:gd name="T63" fmla="*/ 2147483646 h 293"/>
                  <a:gd name="T64" fmla="*/ 2147483646 w 462"/>
                  <a:gd name="T65" fmla="*/ 2147483646 h 293"/>
                  <a:gd name="T66" fmla="*/ 2147483646 w 462"/>
                  <a:gd name="T67" fmla="*/ 2147483646 h 293"/>
                  <a:gd name="T68" fmla="*/ 2147483646 w 462"/>
                  <a:gd name="T69" fmla="*/ 2147483646 h 293"/>
                  <a:gd name="T70" fmla="*/ 2147483646 w 462"/>
                  <a:gd name="T71" fmla="*/ 2147483646 h 293"/>
                  <a:gd name="T72" fmla="*/ 2147483646 w 462"/>
                  <a:gd name="T73" fmla="*/ 2147483646 h 293"/>
                  <a:gd name="T74" fmla="*/ 2147483646 w 462"/>
                  <a:gd name="T75" fmla="*/ 2147483646 h 293"/>
                  <a:gd name="T76" fmla="*/ 2147483646 w 462"/>
                  <a:gd name="T77" fmla="*/ 2147483646 h 293"/>
                  <a:gd name="T78" fmla="*/ 2147483646 w 462"/>
                  <a:gd name="T79" fmla="*/ 2147483646 h 293"/>
                  <a:gd name="T80" fmla="*/ 2147483646 w 462"/>
                  <a:gd name="T81" fmla="*/ 2147483646 h 293"/>
                  <a:gd name="T82" fmla="*/ 2147483646 w 462"/>
                  <a:gd name="T83" fmla="*/ 2147483646 h 293"/>
                  <a:gd name="T84" fmla="*/ 2147483646 w 462"/>
                  <a:gd name="T85" fmla="*/ 2147483646 h 293"/>
                  <a:gd name="T86" fmla="*/ 2147483646 w 462"/>
                  <a:gd name="T87" fmla="*/ 2147483646 h 293"/>
                  <a:gd name="T88" fmla="*/ 2147483646 w 462"/>
                  <a:gd name="T89" fmla="*/ 2147483646 h 293"/>
                  <a:gd name="T90" fmla="*/ 2147483646 w 462"/>
                  <a:gd name="T91" fmla="*/ 2147483646 h 293"/>
                  <a:gd name="T92" fmla="*/ 2147483646 w 462"/>
                  <a:gd name="T93" fmla="*/ 2147483646 h 293"/>
                  <a:gd name="T94" fmla="*/ 2147483646 w 462"/>
                  <a:gd name="T95" fmla="*/ 2147483646 h 293"/>
                  <a:gd name="T96" fmla="*/ 2147483646 w 462"/>
                  <a:gd name="T97" fmla="*/ 2147483646 h 293"/>
                  <a:gd name="T98" fmla="*/ 2147483646 w 462"/>
                  <a:gd name="T99" fmla="*/ 2147483646 h 293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62" h="293">
                    <a:moveTo>
                      <a:pt x="348" y="111"/>
                    </a:moveTo>
                    <a:cubicBezTo>
                      <a:pt x="348" y="96"/>
                      <a:pt x="337" y="85"/>
                      <a:pt x="322" y="85"/>
                    </a:cubicBezTo>
                    <a:cubicBezTo>
                      <a:pt x="313" y="85"/>
                      <a:pt x="304" y="90"/>
                      <a:pt x="300" y="98"/>
                    </a:cubicBezTo>
                    <a:cubicBezTo>
                      <a:pt x="238" y="86"/>
                      <a:pt x="238" y="86"/>
                      <a:pt x="238" y="86"/>
                    </a:cubicBezTo>
                    <a:cubicBezTo>
                      <a:pt x="236" y="73"/>
                      <a:pt x="226" y="63"/>
                      <a:pt x="212" y="63"/>
                    </a:cubicBezTo>
                    <a:cubicBezTo>
                      <a:pt x="198" y="63"/>
                      <a:pt x="186" y="74"/>
                      <a:pt x="186" y="89"/>
                    </a:cubicBezTo>
                    <a:cubicBezTo>
                      <a:pt x="186" y="90"/>
                      <a:pt x="187" y="91"/>
                      <a:pt x="187" y="92"/>
                    </a:cubicBezTo>
                    <a:cubicBezTo>
                      <a:pt x="160" y="105"/>
                      <a:pt x="160" y="105"/>
                      <a:pt x="160" y="105"/>
                    </a:cubicBezTo>
                    <a:cubicBezTo>
                      <a:pt x="155" y="100"/>
                      <a:pt x="148" y="97"/>
                      <a:pt x="141" y="97"/>
                    </a:cubicBezTo>
                    <a:cubicBezTo>
                      <a:pt x="127" y="97"/>
                      <a:pt x="115" y="108"/>
                      <a:pt x="115" y="122"/>
                    </a:cubicBezTo>
                    <a:cubicBezTo>
                      <a:pt x="115" y="134"/>
                      <a:pt x="123" y="144"/>
                      <a:pt x="133" y="147"/>
                    </a:cubicBezTo>
                    <a:cubicBezTo>
                      <a:pt x="133" y="193"/>
                      <a:pt x="133" y="193"/>
                      <a:pt x="133" y="193"/>
                    </a:cubicBezTo>
                    <a:cubicBezTo>
                      <a:pt x="123" y="196"/>
                      <a:pt x="115" y="206"/>
                      <a:pt x="115" y="217"/>
                    </a:cubicBezTo>
                    <a:cubicBezTo>
                      <a:pt x="115" y="232"/>
                      <a:pt x="127" y="243"/>
                      <a:pt x="141" y="243"/>
                    </a:cubicBezTo>
                    <a:cubicBezTo>
                      <a:pt x="151" y="243"/>
                      <a:pt x="159" y="238"/>
                      <a:pt x="163" y="230"/>
                    </a:cubicBezTo>
                    <a:cubicBezTo>
                      <a:pt x="225" y="242"/>
                      <a:pt x="225" y="242"/>
                      <a:pt x="225" y="242"/>
                    </a:cubicBezTo>
                    <a:cubicBezTo>
                      <a:pt x="227" y="255"/>
                      <a:pt x="238" y="265"/>
                      <a:pt x="251" y="265"/>
                    </a:cubicBezTo>
                    <a:cubicBezTo>
                      <a:pt x="265" y="265"/>
                      <a:pt x="277" y="253"/>
                      <a:pt x="277" y="239"/>
                    </a:cubicBezTo>
                    <a:cubicBezTo>
                      <a:pt x="277" y="238"/>
                      <a:pt x="277" y="237"/>
                      <a:pt x="277" y="236"/>
                    </a:cubicBezTo>
                    <a:cubicBezTo>
                      <a:pt x="304" y="224"/>
                      <a:pt x="304" y="224"/>
                      <a:pt x="304" y="224"/>
                    </a:cubicBezTo>
                    <a:cubicBezTo>
                      <a:pt x="308" y="229"/>
                      <a:pt x="315" y="232"/>
                      <a:pt x="322" y="232"/>
                    </a:cubicBezTo>
                    <a:cubicBezTo>
                      <a:pt x="337" y="232"/>
                      <a:pt x="348" y="220"/>
                      <a:pt x="348" y="206"/>
                    </a:cubicBezTo>
                    <a:cubicBezTo>
                      <a:pt x="348" y="195"/>
                      <a:pt x="341" y="185"/>
                      <a:pt x="330" y="181"/>
                    </a:cubicBezTo>
                    <a:cubicBezTo>
                      <a:pt x="330" y="135"/>
                      <a:pt x="330" y="135"/>
                      <a:pt x="330" y="135"/>
                    </a:cubicBezTo>
                    <a:cubicBezTo>
                      <a:pt x="341" y="132"/>
                      <a:pt x="348" y="122"/>
                      <a:pt x="348" y="111"/>
                    </a:cubicBezTo>
                    <a:close/>
                    <a:moveTo>
                      <a:pt x="235" y="101"/>
                    </a:moveTo>
                    <a:cubicBezTo>
                      <a:pt x="297" y="114"/>
                      <a:pt x="297" y="114"/>
                      <a:pt x="297" y="114"/>
                    </a:cubicBezTo>
                    <a:cubicBezTo>
                      <a:pt x="297" y="114"/>
                      <a:pt x="297" y="114"/>
                      <a:pt x="297" y="114"/>
                    </a:cubicBezTo>
                    <a:cubicBezTo>
                      <a:pt x="270" y="127"/>
                      <a:pt x="270" y="127"/>
                      <a:pt x="270" y="127"/>
                    </a:cubicBezTo>
                    <a:cubicBezTo>
                      <a:pt x="265" y="122"/>
                      <a:pt x="258" y="119"/>
                      <a:pt x="251" y="119"/>
                    </a:cubicBezTo>
                    <a:cubicBezTo>
                      <a:pt x="241" y="119"/>
                      <a:pt x="233" y="124"/>
                      <a:pt x="228" y="132"/>
                    </a:cubicBezTo>
                    <a:cubicBezTo>
                      <a:pt x="220" y="130"/>
                      <a:pt x="220" y="130"/>
                      <a:pt x="220" y="130"/>
                    </a:cubicBezTo>
                    <a:cubicBezTo>
                      <a:pt x="220" y="113"/>
                      <a:pt x="220" y="113"/>
                      <a:pt x="220" y="113"/>
                    </a:cubicBezTo>
                    <a:cubicBezTo>
                      <a:pt x="227" y="111"/>
                      <a:pt x="232" y="107"/>
                      <a:pt x="235" y="101"/>
                    </a:cubicBezTo>
                    <a:close/>
                    <a:moveTo>
                      <a:pt x="220" y="160"/>
                    </a:moveTo>
                    <a:cubicBezTo>
                      <a:pt x="220" y="147"/>
                      <a:pt x="220" y="147"/>
                      <a:pt x="220" y="147"/>
                    </a:cubicBezTo>
                    <a:cubicBezTo>
                      <a:pt x="225" y="148"/>
                      <a:pt x="225" y="148"/>
                      <a:pt x="225" y="148"/>
                    </a:cubicBezTo>
                    <a:cubicBezTo>
                      <a:pt x="227" y="158"/>
                      <a:pt x="234" y="166"/>
                      <a:pt x="243" y="169"/>
                    </a:cubicBezTo>
                    <a:cubicBezTo>
                      <a:pt x="243" y="182"/>
                      <a:pt x="243" y="182"/>
                      <a:pt x="243" y="182"/>
                    </a:cubicBezTo>
                    <a:cubicBezTo>
                      <a:pt x="238" y="181"/>
                      <a:pt x="238" y="181"/>
                      <a:pt x="238" y="181"/>
                    </a:cubicBezTo>
                    <a:cubicBezTo>
                      <a:pt x="237" y="171"/>
                      <a:pt x="230" y="163"/>
                      <a:pt x="220" y="160"/>
                    </a:cubicBezTo>
                    <a:close/>
                    <a:moveTo>
                      <a:pt x="222" y="184"/>
                    </a:moveTo>
                    <a:cubicBezTo>
                      <a:pt x="222" y="190"/>
                      <a:pt x="218" y="194"/>
                      <a:pt x="212" y="194"/>
                    </a:cubicBezTo>
                    <a:cubicBezTo>
                      <a:pt x="207" y="194"/>
                      <a:pt x="202" y="190"/>
                      <a:pt x="202" y="184"/>
                    </a:cubicBezTo>
                    <a:cubicBezTo>
                      <a:pt x="202" y="179"/>
                      <a:pt x="207" y="174"/>
                      <a:pt x="212" y="174"/>
                    </a:cubicBezTo>
                    <a:cubicBezTo>
                      <a:pt x="218" y="174"/>
                      <a:pt x="222" y="179"/>
                      <a:pt x="222" y="184"/>
                    </a:cubicBezTo>
                    <a:close/>
                    <a:moveTo>
                      <a:pt x="241" y="144"/>
                    </a:moveTo>
                    <a:cubicBezTo>
                      <a:pt x="241" y="139"/>
                      <a:pt x="246" y="135"/>
                      <a:pt x="251" y="135"/>
                    </a:cubicBezTo>
                    <a:cubicBezTo>
                      <a:pt x="256" y="135"/>
                      <a:pt x="261" y="139"/>
                      <a:pt x="261" y="144"/>
                    </a:cubicBezTo>
                    <a:cubicBezTo>
                      <a:pt x="261" y="150"/>
                      <a:pt x="256" y="154"/>
                      <a:pt x="251" y="154"/>
                    </a:cubicBezTo>
                    <a:cubicBezTo>
                      <a:pt x="246" y="154"/>
                      <a:pt x="241" y="150"/>
                      <a:pt x="241" y="144"/>
                    </a:cubicBezTo>
                    <a:close/>
                    <a:moveTo>
                      <a:pt x="212" y="79"/>
                    </a:moveTo>
                    <a:cubicBezTo>
                      <a:pt x="218" y="79"/>
                      <a:pt x="222" y="83"/>
                      <a:pt x="222" y="89"/>
                    </a:cubicBezTo>
                    <a:cubicBezTo>
                      <a:pt x="222" y="94"/>
                      <a:pt x="218" y="99"/>
                      <a:pt x="212" y="99"/>
                    </a:cubicBezTo>
                    <a:cubicBezTo>
                      <a:pt x="207" y="99"/>
                      <a:pt x="202" y="94"/>
                      <a:pt x="202" y="89"/>
                    </a:cubicBezTo>
                    <a:cubicBezTo>
                      <a:pt x="202" y="83"/>
                      <a:pt x="207" y="79"/>
                      <a:pt x="212" y="79"/>
                    </a:cubicBezTo>
                    <a:close/>
                    <a:moveTo>
                      <a:pt x="194" y="106"/>
                    </a:moveTo>
                    <a:cubicBezTo>
                      <a:pt x="197" y="110"/>
                      <a:pt x="200" y="112"/>
                      <a:pt x="204" y="113"/>
                    </a:cubicBezTo>
                    <a:cubicBezTo>
                      <a:pt x="204" y="127"/>
                      <a:pt x="204" y="127"/>
                      <a:pt x="204" y="127"/>
                    </a:cubicBezTo>
                    <a:cubicBezTo>
                      <a:pt x="167" y="120"/>
                      <a:pt x="167" y="120"/>
                      <a:pt x="167" y="120"/>
                    </a:cubicBezTo>
                    <a:cubicBezTo>
                      <a:pt x="167" y="120"/>
                      <a:pt x="167" y="119"/>
                      <a:pt x="167" y="119"/>
                    </a:cubicBezTo>
                    <a:lnTo>
                      <a:pt x="194" y="106"/>
                    </a:lnTo>
                    <a:close/>
                    <a:moveTo>
                      <a:pt x="131" y="122"/>
                    </a:moveTo>
                    <a:cubicBezTo>
                      <a:pt x="131" y="117"/>
                      <a:pt x="136" y="113"/>
                      <a:pt x="141" y="113"/>
                    </a:cubicBezTo>
                    <a:cubicBezTo>
                      <a:pt x="146" y="113"/>
                      <a:pt x="151" y="117"/>
                      <a:pt x="151" y="122"/>
                    </a:cubicBezTo>
                    <a:cubicBezTo>
                      <a:pt x="151" y="128"/>
                      <a:pt x="146" y="132"/>
                      <a:pt x="141" y="132"/>
                    </a:cubicBezTo>
                    <a:cubicBezTo>
                      <a:pt x="136" y="132"/>
                      <a:pt x="131" y="128"/>
                      <a:pt x="131" y="122"/>
                    </a:cubicBezTo>
                    <a:close/>
                    <a:moveTo>
                      <a:pt x="141" y="227"/>
                    </a:moveTo>
                    <a:cubicBezTo>
                      <a:pt x="136" y="227"/>
                      <a:pt x="131" y="223"/>
                      <a:pt x="131" y="217"/>
                    </a:cubicBezTo>
                    <a:cubicBezTo>
                      <a:pt x="131" y="212"/>
                      <a:pt x="136" y="207"/>
                      <a:pt x="141" y="207"/>
                    </a:cubicBezTo>
                    <a:cubicBezTo>
                      <a:pt x="146" y="207"/>
                      <a:pt x="151" y="212"/>
                      <a:pt x="151" y="217"/>
                    </a:cubicBezTo>
                    <a:cubicBezTo>
                      <a:pt x="151" y="223"/>
                      <a:pt x="146" y="227"/>
                      <a:pt x="141" y="227"/>
                    </a:cubicBezTo>
                    <a:close/>
                    <a:moveTo>
                      <a:pt x="160" y="200"/>
                    </a:moveTo>
                    <a:cubicBezTo>
                      <a:pt x="157" y="197"/>
                      <a:pt x="153" y="194"/>
                      <a:pt x="149" y="193"/>
                    </a:cubicBezTo>
                    <a:cubicBezTo>
                      <a:pt x="149" y="147"/>
                      <a:pt x="149" y="147"/>
                      <a:pt x="149" y="147"/>
                    </a:cubicBezTo>
                    <a:cubicBezTo>
                      <a:pt x="155" y="145"/>
                      <a:pt x="160" y="141"/>
                      <a:pt x="163" y="136"/>
                    </a:cubicBezTo>
                    <a:cubicBezTo>
                      <a:pt x="204" y="144"/>
                      <a:pt x="204" y="144"/>
                      <a:pt x="204" y="144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194" y="163"/>
                      <a:pt x="186" y="173"/>
                      <a:pt x="186" y="184"/>
                    </a:cubicBezTo>
                    <a:cubicBezTo>
                      <a:pt x="186" y="185"/>
                      <a:pt x="187" y="186"/>
                      <a:pt x="187" y="187"/>
                    </a:cubicBezTo>
                    <a:lnTo>
                      <a:pt x="160" y="200"/>
                    </a:lnTo>
                    <a:close/>
                    <a:moveTo>
                      <a:pt x="228" y="227"/>
                    </a:moveTo>
                    <a:cubicBezTo>
                      <a:pt x="167" y="214"/>
                      <a:pt x="167" y="214"/>
                      <a:pt x="167" y="214"/>
                    </a:cubicBezTo>
                    <a:cubicBezTo>
                      <a:pt x="194" y="202"/>
                      <a:pt x="194" y="202"/>
                      <a:pt x="194" y="202"/>
                    </a:cubicBezTo>
                    <a:cubicBezTo>
                      <a:pt x="198" y="207"/>
                      <a:pt x="205" y="210"/>
                      <a:pt x="212" y="210"/>
                    </a:cubicBezTo>
                    <a:cubicBezTo>
                      <a:pt x="222" y="210"/>
                      <a:pt x="230" y="205"/>
                      <a:pt x="235" y="197"/>
                    </a:cubicBezTo>
                    <a:cubicBezTo>
                      <a:pt x="243" y="198"/>
                      <a:pt x="243" y="198"/>
                      <a:pt x="243" y="198"/>
                    </a:cubicBezTo>
                    <a:cubicBezTo>
                      <a:pt x="243" y="215"/>
                      <a:pt x="243" y="215"/>
                      <a:pt x="243" y="215"/>
                    </a:cubicBezTo>
                    <a:cubicBezTo>
                      <a:pt x="237" y="217"/>
                      <a:pt x="232" y="221"/>
                      <a:pt x="228" y="227"/>
                    </a:cubicBezTo>
                    <a:close/>
                    <a:moveTo>
                      <a:pt x="251" y="249"/>
                    </a:moveTo>
                    <a:cubicBezTo>
                      <a:pt x="246" y="249"/>
                      <a:pt x="241" y="245"/>
                      <a:pt x="241" y="239"/>
                    </a:cubicBezTo>
                    <a:cubicBezTo>
                      <a:pt x="241" y="234"/>
                      <a:pt x="246" y="229"/>
                      <a:pt x="251" y="229"/>
                    </a:cubicBezTo>
                    <a:cubicBezTo>
                      <a:pt x="256" y="229"/>
                      <a:pt x="261" y="234"/>
                      <a:pt x="261" y="239"/>
                    </a:cubicBezTo>
                    <a:cubicBezTo>
                      <a:pt x="261" y="245"/>
                      <a:pt x="256" y="249"/>
                      <a:pt x="251" y="249"/>
                    </a:cubicBezTo>
                    <a:close/>
                    <a:moveTo>
                      <a:pt x="270" y="222"/>
                    </a:moveTo>
                    <a:cubicBezTo>
                      <a:pt x="267" y="219"/>
                      <a:pt x="263" y="216"/>
                      <a:pt x="259" y="215"/>
                    </a:cubicBezTo>
                    <a:cubicBezTo>
                      <a:pt x="259" y="202"/>
                      <a:pt x="259" y="202"/>
                      <a:pt x="259" y="202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97" y="209"/>
                      <a:pt x="297" y="209"/>
                      <a:pt x="297" y="209"/>
                    </a:cubicBezTo>
                    <a:lnTo>
                      <a:pt x="270" y="222"/>
                    </a:lnTo>
                    <a:close/>
                    <a:moveTo>
                      <a:pt x="300" y="193"/>
                    </a:moveTo>
                    <a:cubicBezTo>
                      <a:pt x="259" y="185"/>
                      <a:pt x="259" y="185"/>
                      <a:pt x="259" y="185"/>
                    </a:cubicBezTo>
                    <a:cubicBezTo>
                      <a:pt x="259" y="169"/>
                      <a:pt x="259" y="169"/>
                      <a:pt x="259" y="169"/>
                    </a:cubicBezTo>
                    <a:cubicBezTo>
                      <a:pt x="269" y="166"/>
                      <a:pt x="277" y="156"/>
                      <a:pt x="277" y="144"/>
                    </a:cubicBezTo>
                    <a:cubicBezTo>
                      <a:pt x="277" y="143"/>
                      <a:pt x="277" y="142"/>
                      <a:pt x="277" y="141"/>
                    </a:cubicBezTo>
                    <a:cubicBezTo>
                      <a:pt x="304" y="128"/>
                      <a:pt x="304" y="128"/>
                      <a:pt x="304" y="128"/>
                    </a:cubicBezTo>
                    <a:cubicBezTo>
                      <a:pt x="306" y="131"/>
                      <a:pt x="310" y="134"/>
                      <a:pt x="314" y="135"/>
                    </a:cubicBezTo>
                    <a:cubicBezTo>
                      <a:pt x="314" y="181"/>
                      <a:pt x="314" y="181"/>
                      <a:pt x="314" y="181"/>
                    </a:cubicBezTo>
                    <a:cubicBezTo>
                      <a:pt x="308" y="183"/>
                      <a:pt x="303" y="188"/>
                      <a:pt x="300" y="193"/>
                    </a:cubicBezTo>
                    <a:close/>
                    <a:moveTo>
                      <a:pt x="332" y="206"/>
                    </a:moveTo>
                    <a:cubicBezTo>
                      <a:pt x="332" y="211"/>
                      <a:pt x="328" y="216"/>
                      <a:pt x="322" y="216"/>
                    </a:cubicBezTo>
                    <a:cubicBezTo>
                      <a:pt x="317" y="216"/>
                      <a:pt x="312" y="211"/>
                      <a:pt x="312" y="206"/>
                    </a:cubicBezTo>
                    <a:cubicBezTo>
                      <a:pt x="312" y="201"/>
                      <a:pt x="317" y="196"/>
                      <a:pt x="322" y="196"/>
                    </a:cubicBezTo>
                    <a:cubicBezTo>
                      <a:pt x="328" y="196"/>
                      <a:pt x="332" y="201"/>
                      <a:pt x="332" y="206"/>
                    </a:cubicBezTo>
                    <a:close/>
                    <a:moveTo>
                      <a:pt x="322" y="120"/>
                    </a:moveTo>
                    <a:cubicBezTo>
                      <a:pt x="317" y="120"/>
                      <a:pt x="312" y="116"/>
                      <a:pt x="312" y="111"/>
                    </a:cubicBezTo>
                    <a:cubicBezTo>
                      <a:pt x="312" y="105"/>
                      <a:pt x="317" y="101"/>
                      <a:pt x="322" y="101"/>
                    </a:cubicBezTo>
                    <a:cubicBezTo>
                      <a:pt x="328" y="101"/>
                      <a:pt x="332" y="105"/>
                      <a:pt x="332" y="111"/>
                    </a:cubicBezTo>
                    <a:cubicBezTo>
                      <a:pt x="332" y="116"/>
                      <a:pt x="328" y="120"/>
                      <a:pt x="322" y="120"/>
                    </a:cubicBezTo>
                    <a:close/>
                    <a:moveTo>
                      <a:pt x="435" y="148"/>
                    </a:moveTo>
                    <a:cubicBezTo>
                      <a:pt x="437" y="140"/>
                      <a:pt x="439" y="132"/>
                      <a:pt x="439" y="123"/>
                    </a:cubicBezTo>
                    <a:cubicBezTo>
                      <a:pt x="439" y="104"/>
                      <a:pt x="433" y="86"/>
                      <a:pt x="422" y="70"/>
                    </a:cubicBezTo>
                    <a:cubicBezTo>
                      <a:pt x="420" y="67"/>
                      <a:pt x="415" y="66"/>
                      <a:pt x="411" y="68"/>
                    </a:cubicBezTo>
                    <a:cubicBezTo>
                      <a:pt x="407" y="71"/>
                      <a:pt x="406" y="76"/>
                      <a:pt x="409" y="79"/>
                    </a:cubicBezTo>
                    <a:cubicBezTo>
                      <a:pt x="418" y="92"/>
                      <a:pt x="423" y="108"/>
                      <a:pt x="423" y="123"/>
                    </a:cubicBezTo>
                    <a:cubicBezTo>
                      <a:pt x="423" y="132"/>
                      <a:pt x="421" y="140"/>
                      <a:pt x="419" y="148"/>
                    </a:cubicBezTo>
                    <a:cubicBezTo>
                      <a:pt x="418" y="151"/>
                      <a:pt x="419" y="154"/>
                      <a:pt x="421" y="156"/>
                    </a:cubicBezTo>
                    <a:cubicBezTo>
                      <a:pt x="437" y="170"/>
                      <a:pt x="446" y="189"/>
                      <a:pt x="446" y="209"/>
                    </a:cubicBezTo>
                    <a:cubicBezTo>
                      <a:pt x="446" y="247"/>
                      <a:pt x="415" y="277"/>
                      <a:pt x="378" y="277"/>
                    </a:cubicBezTo>
                    <a:cubicBezTo>
                      <a:pt x="88" y="277"/>
                      <a:pt x="88" y="277"/>
                      <a:pt x="88" y="277"/>
                    </a:cubicBezTo>
                    <a:cubicBezTo>
                      <a:pt x="48" y="277"/>
                      <a:pt x="16" y="245"/>
                      <a:pt x="16" y="206"/>
                    </a:cubicBezTo>
                    <a:cubicBezTo>
                      <a:pt x="16" y="178"/>
                      <a:pt x="31" y="154"/>
                      <a:pt x="56" y="141"/>
                    </a:cubicBezTo>
                    <a:cubicBezTo>
                      <a:pt x="59" y="140"/>
                      <a:pt x="60" y="137"/>
                      <a:pt x="60" y="134"/>
                    </a:cubicBezTo>
                    <a:cubicBezTo>
                      <a:pt x="60" y="134"/>
                      <a:pt x="60" y="133"/>
                      <a:pt x="60" y="133"/>
                    </a:cubicBezTo>
                    <a:cubicBezTo>
                      <a:pt x="60" y="69"/>
                      <a:pt x="113" y="16"/>
                      <a:pt x="178" y="16"/>
                    </a:cubicBezTo>
                    <a:cubicBezTo>
                      <a:pt x="217" y="16"/>
                      <a:pt x="254" y="36"/>
                      <a:pt x="276" y="68"/>
                    </a:cubicBezTo>
                    <a:cubicBezTo>
                      <a:pt x="277" y="70"/>
                      <a:pt x="279" y="72"/>
                      <a:pt x="282" y="72"/>
                    </a:cubicBezTo>
                    <a:cubicBezTo>
                      <a:pt x="284" y="72"/>
                      <a:pt x="287" y="71"/>
                      <a:pt x="288" y="70"/>
                    </a:cubicBezTo>
                    <a:cubicBezTo>
                      <a:pt x="288" y="70"/>
                      <a:pt x="289" y="69"/>
                      <a:pt x="289" y="69"/>
                    </a:cubicBezTo>
                    <a:cubicBezTo>
                      <a:pt x="290" y="68"/>
                      <a:pt x="309" y="45"/>
                      <a:pt x="344" y="45"/>
                    </a:cubicBezTo>
                    <a:cubicBezTo>
                      <a:pt x="360" y="45"/>
                      <a:pt x="375" y="50"/>
                      <a:pt x="388" y="59"/>
                    </a:cubicBezTo>
                    <a:cubicBezTo>
                      <a:pt x="392" y="61"/>
                      <a:pt x="397" y="60"/>
                      <a:pt x="399" y="56"/>
                    </a:cubicBezTo>
                    <a:cubicBezTo>
                      <a:pt x="402" y="53"/>
                      <a:pt x="401" y="48"/>
                      <a:pt x="397" y="45"/>
                    </a:cubicBezTo>
                    <a:cubicBezTo>
                      <a:pt x="381" y="35"/>
                      <a:pt x="363" y="29"/>
                      <a:pt x="344" y="29"/>
                    </a:cubicBezTo>
                    <a:cubicBezTo>
                      <a:pt x="314" y="29"/>
                      <a:pt x="294" y="43"/>
                      <a:pt x="284" y="52"/>
                    </a:cubicBezTo>
                    <a:cubicBezTo>
                      <a:pt x="258" y="19"/>
                      <a:pt x="220" y="0"/>
                      <a:pt x="178" y="0"/>
                    </a:cubicBezTo>
                    <a:cubicBezTo>
                      <a:pt x="106" y="0"/>
                      <a:pt x="47" y="58"/>
                      <a:pt x="44" y="129"/>
                    </a:cubicBezTo>
                    <a:cubicBezTo>
                      <a:pt x="17" y="145"/>
                      <a:pt x="0" y="174"/>
                      <a:pt x="0" y="206"/>
                    </a:cubicBezTo>
                    <a:cubicBezTo>
                      <a:pt x="0" y="254"/>
                      <a:pt x="39" y="293"/>
                      <a:pt x="88" y="293"/>
                    </a:cubicBezTo>
                    <a:cubicBezTo>
                      <a:pt x="378" y="293"/>
                      <a:pt x="378" y="293"/>
                      <a:pt x="378" y="293"/>
                    </a:cubicBezTo>
                    <a:cubicBezTo>
                      <a:pt x="424" y="293"/>
                      <a:pt x="462" y="256"/>
                      <a:pt x="462" y="209"/>
                    </a:cubicBezTo>
                    <a:cubicBezTo>
                      <a:pt x="462" y="186"/>
                      <a:pt x="452" y="164"/>
                      <a:pt x="435" y="14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grpSp>
            <p:nvGrpSpPr>
              <p:cNvPr id="15431" name="Group 87"/>
              <p:cNvGrpSpPr>
                <a:grpSpLocks noChangeAspect="1"/>
              </p:cNvGrpSpPr>
              <p:nvPr/>
            </p:nvGrpSpPr>
            <p:grpSpPr bwMode="auto">
              <a:xfrm>
                <a:off x="10721975" y="3587750"/>
                <a:ext cx="1003300" cy="830263"/>
                <a:chOff x="7334636" y="4749611"/>
                <a:chExt cx="865787" cy="717047"/>
              </a:xfrm>
            </p:grpSpPr>
            <p:sp>
              <p:nvSpPr>
                <p:cNvPr id="15432" name="Freeform 6"/>
                <p:cNvSpPr>
                  <a:spLocks noChangeAspect="1" noEditPoints="1"/>
                </p:cNvSpPr>
                <p:nvPr/>
              </p:nvSpPr>
              <p:spPr bwMode="auto">
                <a:xfrm>
                  <a:off x="7334441" y="4748622"/>
                  <a:ext cx="866716" cy="721288"/>
                </a:xfrm>
                <a:custGeom>
                  <a:avLst/>
                  <a:gdLst>
                    <a:gd name="T0" fmla="*/ 2147483646 w 464"/>
                    <a:gd name="T1" fmla="*/ 2147483646 h 399"/>
                    <a:gd name="T2" fmla="*/ 2147483646 w 464"/>
                    <a:gd name="T3" fmla="*/ 2147483646 h 399"/>
                    <a:gd name="T4" fmla="*/ 2147483646 w 464"/>
                    <a:gd name="T5" fmla="*/ 2147483646 h 399"/>
                    <a:gd name="T6" fmla="*/ 2147483646 w 464"/>
                    <a:gd name="T7" fmla="*/ 0 h 399"/>
                    <a:gd name="T8" fmla="*/ 2147483646 w 464"/>
                    <a:gd name="T9" fmla="*/ 2147483646 h 399"/>
                    <a:gd name="T10" fmla="*/ 2147483646 w 464"/>
                    <a:gd name="T11" fmla="*/ 2147483646 h 399"/>
                    <a:gd name="T12" fmla="*/ 0 w 464"/>
                    <a:gd name="T13" fmla="*/ 2147483646 h 399"/>
                    <a:gd name="T14" fmla="*/ 2147483646 w 464"/>
                    <a:gd name="T15" fmla="*/ 2147483646 h 399"/>
                    <a:gd name="T16" fmla="*/ 2147483646 w 464"/>
                    <a:gd name="T17" fmla="*/ 2147483646 h 399"/>
                    <a:gd name="T18" fmla="*/ 2147483646 w 464"/>
                    <a:gd name="T19" fmla="*/ 2147483646 h 399"/>
                    <a:gd name="T20" fmla="*/ 2147483646 w 464"/>
                    <a:gd name="T21" fmla="*/ 2147483646 h 399"/>
                    <a:gd name="T22" fmla="*/ 2147483646 w 464"/>
                    <a:gd name="T23" fmla="*/ 2147483646 h 399"/>
                    <a:gd name="T24" fmla="*/ 2147483646 w 464"/>
                    <a:gd name="T25" fmla="*/ 2147483646 h 399"/>
                    <a:gd name="T26" fmla="*/ 2147483646 w 464"/>
                    <a:gd name="T27" fmla="*/ 2147483646 h 399"/>
                    <a:gd name="T28" fmla="*/ 2147483646 w 464"/>
                    <a:gd name="T29" fmla="*/ 2147483646 h 399"/>
                    <a:gd name="T30" fmla="*/ 2147483646 w 464"/>
                    <a:gd name="T31" fmla="*/ 2147483646 h 399"/>
                    <a:gd name="T32" fmla="*/ 2147483646 w 464"/>
                    <a:gd name="T33" fmla="*/ 2147483646 h 399"/>
                    <a:gd name="T34" fmla="*/ 2147483646 w 464"/>
                    <a:gd name="T35" fmla="*/ 0 h 399"/>
                    <a:gd name="T36" fmla="*/ 2147483646 w 464"/>
                    <a:gd name="T37" fmla="*/ 2147483646 h 399"/>
                    <a:gd name="T38" fmla="*/ 2147483646 w 464"/>
                    <a:gd name="T39" fmla="*/ 2147483646 h 399"/>
                    <a:gd name="T40" fmla="*/ 2147483646 w 464"/>
                    <a:gd name="T41" fmla="*/ 2147483646 h 399"/>
                    <a:gd name="T42" fmla="*/ 2147483646 w 464"/>
                    <a:gd name="T43" fmla="*/ 2147483646 h 399"/>
                    <a:gd name="T44" fmla="*/ 2147483646 w 464"/>
                    <a:gd name="T45" fmla="*/ 2147483646 h 399"/>
                    <a:gd name="T46" fmla="*/ 2147483646 w 464"/>
                    <a:gd name="T47" fmla="*/ 2147483646 h 399"/>
                    <a:gd name="T48" fmla="*/ 2147483646 w 464"/>
                    <a:gd name="T49" fmla="*/ 2147483646 h 399"/>
                    <a:gd name="T50" fmla="*/ 2147483646 w 464"/>
                    <a:gd name="T51" fmla="*/ 2147483646 h 399"/>
                    <a:gd name="T52" fmla="*/ 2147483646 w 464"/>
                    <a:gd name="T53" fmla="*/ 2147483646 h 399"/>
                    <a:gd name="T54" fmla="*/ 2147483646 w 464"/>
                    <a:gd name="T55" fmla="*/ 2147483646 h 399"/>
                    <a:gd name="T56" fmla="*/ 2147483646 w 464"/>
                    <a:gd name="T57" fmla="*/ 2147483646 h 399"/>
                    <a:gd name="T58" fmla="*/ 2147483646 w 464"/>
                    <a:gd name="T59" fmla="*/ 2147483646 h 399"/>
                    <a:gd name="T60" fmla="*/ 2147483646 w 464"/>
                    <a:gd name="T61" fmla="*/ 2147483646 h 399"/>
                    <a:gd name="T62" fmla="*/ 2147483646 w 464"/>
                    <a:gd name="T63" fmla="*/ 2147483646 h 399"/>
                    <a:gd name="T64" fmla="*/ 2147483646 w 464"/>
                    <a:gd name="T65" fmla="*/ 2147483646 h 399"/>
                    <a:gd name="T66" fmla="*/ 2147483646 w 464"/>
                    <a:gd name="T67" fmla="*/ 2147483646 h 399"/>
                    <a:gd name="T68" fmla="*/ 2147483646 w 464"/>
                    <a:gd name="T69" fmla="*/ 2147483646 h 399"/>
                    <a:gd name="T70" fmla="*/ 2147483646 w 464"/>
                    <a:gd name="T71" fmla="*/ 2147483646 h 399"/>
                    <a:gd name="T72" fmla="*/ 2147483646 w 464"/>
                    <a:gd name="T73" fmla="*/ 2147483646 h 399"/>
                    <a:gd name="T74" fmla="*/ 2147483646 w 464"/>
                    <a:gd name="T75" fmla="*/ 2147483646 h 399"/>
                    <a:gd name="T76" fmla="*/ 2147483646 w 464"/>
                    <a:gd name="T77" fmla="*/ 2147483646 h 399"/>
                    <a:gd name="T78" fmla="*/ 2147483646 w 464"/>
                    <a:gd name="T79" fmla="*/ 2147483646 h 399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0" t="0" r="r" b="b"/>
                  <a:pathLst>
                    <a:path w="464" h="399">
                      <a:moveTo>
                        <a:pt x="351" y="81"/>
                      </a:moveTo>
                      <a:cubicBezTo>
                        <a:pt x="426" y="81"/>
                        <a:pt x="426" y="81"/>
                        <a:pt x="426" y="81"/>
                      </a:cubicBezTo>
                      <a:cubicBezTo>
                        <a:pt x="430" y="81"/>
                        <a:pt x="434" y="77"/>
                        <a:pt x="434" y="73"/>
                      </a:cubicBezTo>
                      <a:cubicBezTo>
                        <a:pt x="434" y="68"/>
                        <a:pt x="430" y="65"/>
                        <a:pt x="426" y="65"/>
                      </a:cubicBezTo>
                      <a:cubicBezTo>
                        <a:pt x="351" y="65"/>
                        <a:pt x="351" y="65"/>
                        <a:pt x="351" y="65"/>
                      </a:cubicBezTo>
                      <a:cubicBezTo>
                        <a:pt x="346" y="65"/>
                        <a:pt x="343" y="68"/>
                        <a:pt x="343" y="73"/>
                      </a:cubicBezTo>
                      <a:cubicBezTo>
                        <a:pt x="343" y="77"/>
                        <a:pt x="346" y="81"/>
                        <a:pt x="351" y="81"/>
                      </a:cubicBezTo>
                      <a:close/>
                      <a:moveTo>
                        <a:pt x="450" y="0"/>
                      </a:moveTo>
                      <a:cubicBezTo>
                        <a:pt x="327" y="0"/>
                        <a:pt x="327" y="0"/>
                        <a:pt x="327" y="0"/>
                      </a:cubicBezTo>
                      <a:cubicBezTo>
                        <a:pt x="319" y="0"/>
                        <a:pt x="312" y="6"/>
                        <a:pt x="312" y="14"/>
                      </a:cubicBezTo>
                      <a:cubicBezTo>
                        <a:pt x="312" y="101"/>
                        <a:pt x="312" y="101"/>
                        <a:pt x="312" y="101"/>
                      </a:cubicBezTo>
                      <a:cubicBezTo>
                        <a:pt x="13" y="101"/>
                        <a:pt x="13" y="101"/>
                        <a:pt x="13" y="101"/>
                      </a:cubicBezTo>
                      <a:cubicBezTo>
                        <a:pt x="6" y="101"/>
                        <a:pt x="0" y="107"/>
                        <a:pt x="0" y="113"/>
                      </a:cubicBezTo>
                      <a:cubicBezTo>
                        <a:pt x="0" y="318"/>
                        <a:pt x="0" y="318"/>
                        <a:pt x="0" y="318"/>
                      </a:cubicBezTo>
                      <a:cubicBezTo>
                        <a:pt x="0" y="325"/>
                        <a:pt x="6" y="331"/>
                        <a:pt x="13" y="331"/>
                      </a:cubicBezTo>
                      <a:cubicBezTo>
                        <a:pt x="145" y="331"/>
                        <a:pt x="145" y="331"/>
                        <a:pt x="145" y="331"/>
                      </a:cubicBezTo>
                      <a:cubicBezTo>
                        <a:pt x="145" y="346"/>
                        <a:pt x="145" y="346"/>
                        <a:pt x="145" y="346"/>
                      </a:cubicBezTo>
                      <a:cubicBezTo>
                        <a:pt x="94" y="346"/>
                        <a:pt x="94" y="346"/>
                        <a:pt x="94" y="346"/>
                      </a:cubicBezTo>
                      <a:cubicBezTo>
                        <a:pt x="92" y="346"/>
                        <a:pt x="91" y="347"/>
                        <a:pt x="89" y="348"/>
                      </a:cubicBezTo>
                      <a:cubicBezTo>
                        <a:pt x="33" y="385"/>
                        <a:pt x="33" y="385"/>
                        <a:pt x="33" y="385"/>
                      </a:cubicBezTo>
                      <a:cubicBezTo>
                        <a:pt x="30" y="387"/>
                        <a:pt x="28" y="390"/>
                        <a:pt x="29" y="394"/>
                      </a:cubicBezTo>
                      <a:cubicBezTo>
                        <a:pt x="30" y="397"/>
                        <a:pt x="33" y="399"/>
                        <a:pt x="37" y="399"/>
                      </a:cubicBezTo>
                      <a:cubicBezTo>
                        <a:pt x="332" y="399"/>
                        <a:pt x="332" y="399"/>
                        <a:pt x="332" y="399"/>
                      </a:cubicBezTo>
                      <a:cubicBezTo>
                        <a:pt x="336" y="399"/>
                        <a:pt x="339" y="397"/>
                        <a:pt x="340" y="394"/>
                      </a:cubicBezTo>
                      <a:cubicBezTo>
                        <a:pt x="341" y="390"/>
                        <a:pt x="340" y="387"/>
                        <a:pt x="337" y="385"/>
                      </a:cubicBezTo>
                      <a:cubicBezTo>
                        <a:pt x="280" y="348"/>
                        <a:pt x="280" y="348"/>
                        <a:pt x="280" y="348"/>
                      </a:cubicBezTo>
                      <a:cubicBezTo>
                        <a:pt x="279" y="347"/>
                        <a:pt x="277" y="346"/>
                        <a:pt x="276" y="346"/>
                      </a:cubicBezTo>
                      <a:cubicBezTo>
                        <a:pt x="224" y="346"/>
                        <a:pt x="224" y="346"/>
                        <a:pt x="224" y="346"/>
                      </a:cubicBezTo>
                      <a:cubicBezTo>
                        <a:pt x="224" y="331"/>
                        <a:pt x="224" y="331"/>
                        <a:pt x="224" y="331"/>
                      </a:cubicBezTo>
                      <a:cubicBezTo>
                        <a:pt x="357" y="331"/>
                        <a:pt x="357" y="331"/>
                        <a:pt x="357" y="331"/>
                      </a:cubicBezTo>
                      <a:cubicBezTo>
                        <a:pt x="363" y="331"/>
                        <a:pt x="369" y="325"/>
                        <a:pt x="369" y="318"/>
                      </a:cubicBezTo>
                      <a:cubicBezTo>
                        <a:pt x="369" y="310"/>
                        <a:pt x="369" y="310"/>
                        <a:pt x="369" y="310"/>
                      </a:cubicBezTo>
                      <a:cubicBezTo>
                        <a:pt x="450" y="310"/>
                        <a:pt x="450" y="310"/>
                        <a:pt x="450" y="310"/>
                      </a:cubicBezTo>
                      <a:cubicBezTo>
                        <a:pt x="457" y="310"/>
                        <a:pt x="464" y="303"/>
                        <a:pt x="464" y="296"/>
                      </a:cubicBezTo>
                      <a:cubicBezTo>
                        <a:pt x="464" y="14"/>
                        <a:pt x="464" y="14"/>
                        <a:pt x="464" y="14"/>
                      </a:cubicBezTo>
                      <a:cubicBezTo>
                        <a:pt x="464" y="6"/>
                        <a:pt x="457" y="0"/>
                        <a:pt x="450" y="0"/>
                      </a:cubicBezTo>
                      <a:close/>
                      <a:moveTo>
                        <a:pt x="273" y="362"/>
                      </a:moveTo>
                      <a:cubicBezTo>
                        <a:pt x="305" y="383"/>
                        <a:pt x="305" y="383"/>
                        <a:pt x="305" y="383"/>
                      </a:cubicBezTo>
                      <a:cubicBezTo>
                        <a:pt x="64" y="383"/>
                        <a:pt x="64" y="383"/>
                        <a:pt x="64" y="383"/>
                      </a:cubicBezTo>
                      <a:cubicBezTo>
                        <a:pt x="96" y="362"/>
                        <a:pt x="96" y="362"/>
                        <a:pt x="96" y="362"/>
                      </a:cubicBezTo>
                      <a:lnTo>
                        <a:pt x="273" y="362"/>
                      </a:lnTo>
                      <a:close/>
                      <a:moveTo>
                        <a:pt x="161" y="346"/>
                      </a:moveTo>
                      <a:cubicBezTo>
                        <a:pt x="161" y="331"/>
                        <a:pt x="161" y="331"/>
                        <a:pt x="161" y="331"/>
                      </a:cubicBezTo>
                      <a:cubicBezTo>
                        <a:pt x="208" y="331"/>
                        <a:pt x="208" y="331"/>
                        <a:pt x="208" y="331"/>
                      </a:cubicBezTo>
                      <a:cubicBezTo>
                        <a:pt x="208" y="346"/>
                        <a:pt x="208" y="346"/>
                        <a:pt x="208" y="346"/>
                      </a:cubicBezTo>
                      <a:lnTo>
                        <a:pt x="161" y="346"/>
                      </a:lnTo>
                      <a:close/>
                      <a:moveTo>
                        <a:pt x="448" y="294"/>
                      </a:moveTo>
                      <a:cubicBezTo>
                        <a:pt x="369" y="294"/>
                        <a:pt x="369" y="294"/>
                        <a:pt x="369" y="294"/>
                      </a:cubicBezTo>
                      <a:cubicBezTo>
                        <a:pt x="369" y="161"/>
                        <a:pt x="369" y="161"/>
                        <a:pt x="369" y="161"/>
                      </a:cubicBezTo>
                      <a:cubicBezTo>
                        <a:pt x="369" y="157"/>
                        <a:pt x="365" y="153"/>
                        <a:pt x="361" y="153"/>
                      </a:cubicBezTo>
                      <a:cubicBezTo>
                        <a:pt x="357" y="153"/>
                        <a:pt x="353" y="157"/>
                        <a:pt x="353" y="161"/>
                      </a:cubicBezTo>
                      <a:cubicBezTo>
                        <a:pt x="353" y="315"/>
                        <a:pt x="353" y="315"/>
                        <a:pt x="353" y="315"/>
                      </a:cubicBezTo>
                      <a:cubicBezTo>
                        <a:pt x="16" y="315"/>
                        <a:pt x="16" y="315"/>
                        <a:pt x="16" y="315"/>
                      </a:cubicBezTo>
                      <a:cubicBezTo>
                        <a:pt x="16" y="117"/>
                        <a:pt x="16" y="117"/>
                        <a:pt x="16" y="117"/>
                      </a:cubicBezTo>
                      <a:cubicBezTo>
                        <a:pt x="353" y="117"/>
                        <a:pt x="353" y="117"/>
                        <a:pt x="353" y="117"/>
                      </a:cubicBezTo>
                      <a:cubicBezTo>
                        <a:pt x="353" y="129"/>
                        <a:pt x="353" y="129"/>
                        <a:pt x="353" y="129"/>
                      </a:cubicBezTo>
                      <a:cubicBezTo>
                        <a:pt x="353" y="134"/>
                        <a:pt x="357" y="137"/>
                        <a:pt x="361" y="137"/>
                      </a:cubicBezTo>
                      <a:cubicBezTo>
                        <a:pt x="365" y="137"/>
                        <a:pt x="369" y="134"/>
                        <a:pt x="369" y="129"/>
                      </a:cubicBezTo>
                      <a:cubicBezTo>
                        <a:pt x="369" y="113"/>
                        <a:pt x="369" y="113"/>
                        <a:pt x="369" y="113"/>
                      </a:cubicBezTo>
                      <a:cubicBezTo>
                        <a:pt x="369" y="107"/>
                        <a:pt x="363" y="101"/>
                        <a:pt x="357" y="101"/>
                      </a:cubicBezTo>
                      <a:cubicBezTo>
                        <a:pt x="328" y="101"/>
                        <a:pt x="328" y="101"/>
                        <a:pt x="328" y="101"/>
                      </a:cubicBezTo>
                      <a:cubicBezTo>
                        <a:pt x="328" y="16"/>
                        <a:pt x="328" y="16"/>
                        <a:pt x="328" y="16"/>
                      </a:cubicBezTo>
                      <a:cubicBezTo>
                        <a:pt x="448" y="16"/>
                        <a:pt x="448" y="16"/>
                        <a:pt x="448" y="16"/>
                      </a:cubicBezTo>
                      <a:lnTo>
                        <a:pt x="448" y="294"/>
                      </a:lnTo>
                      <a:close/>
                      <a:moveTo>
                        <a:pt x="428" y="117"/>
                      </a:moveTo>
                      <a:cubicBezTo>
                        <a:pt x="425" y="117"/>
                        <a:pt x="422" y="120"/>
                        <a:pt x="422" y="123"/>
                      </a:cubicBezTo>
                      <a:cubicBezTo>
                        <a:pt x="422" y="126"/>
                        <a:pt x="425" y="128"/>
                        <a:pt x="428" y="128"/>
                      </a:cubicBezTo>
                      <a:cubicBezTo>
                        <a:pt x="431" y="128"/>
                        <a:pt x="434" y="126"/>
                        <a:pt x="434" y="123"/>
                      </a:cubicBezTo>
                      <a:cubicBezTo>
                        <a:pt x="434" y="120"/>
                        <a:pt x="431" y="117"/>
                        <a:pt x="428" y="117"/>
                      </a:cubicBezTo>
                      <a:close/>
                      <a:moveTo>
                        <a:pt x="351" y="50"/>
                      </a:moveTo>
                      <a:cubicBezTo>
                        <a:pt x="426" y="50"/>
                        <a:pt x="426" y="50"/>
                        <a:pt x="426" y="50"/>
                      </a:cubicBezTo>
                      <a:cubicBezTo>
                        <a:pt x="430" y="50"/>
                        <a:pt x="434" y="46"/>
                        <a:pt x="434" y="42"/>
                      </a:cubicBezTo>
                      <a:cubicBezTo>
                        <a:pt x="434" y="38"/>
                        <a:pt x="430" y="34"/>
                        <a:pt x="426" y="34"/>
                      </a:cubicBezTo>
                      <a:cubicBezTo>
                        <a:pt x="351" y="34"/>
                        <a:pt x="351" y="34"/>
                        <a:pt x="351" y="34"/>
                      </a:cubicBezTo>
                      <a:cubicBezTo>
                        <a:pt x="346" y="34"/>
                        <a:pt x="343" y="38"/>
                        <a:pt x="343" y="42"/>
                      </a:cubicBezTo>
                      <a:cubicBezTo>
                        <a:pt x="343" y="46"/>
                        <a:pt x="346" y="50"/>
                        <a:pt x="351" y="50"/>
                      </a:cubicBezTo>
                      <a:close/>
                      <a:moveTo>
                        <a:pt x="428" y="95"/>
                      </a:moveTo>
                      <a:cubicBezTo>
                        <a:pt x="425" y="95"/>
                        <a:pt x="422" y="98"/>
                        <a:pt x="422" y="101"/>
                      </a:cubicBezTo>
                      <a:cubicBezTo>
                        <a:pt x="422" y="104"/>
                        <a:pt x="425" y="106"/>
                        <a:pt x="428" y="106"/>
                      </a:cubicBezTo>
                      <a:cubicBezTo>
                        <a:pt x="431" y="106"/>
                        <a:pt x="434" y="104"/>
                        <a:pt x="434" y="101"/>
                      </a:cubicBezTo>
                      <a:cubicBezTo>
                        <a:pt x="434" y="98"/>
                        <a:pt x="431" y="95"/>
                        <a:pt x="428" y="9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433" name="Freeform 3"/>
                <p:cNvSpPr>
                  <a:spLocks noChangeAspect="1" noEditPoints="1"/>
                </p:cNvSpPr>
                <p:nvPr/>
              </p:nvSpPr>
              <p:spPr bwMode="auto">
                <a:xfrm>
                  <a:off x="7544614" y="5021108"/>
                  <a:ext cx="264219" cy="276494"/>
                </a:xfrm>
                <a:custGeom>
                  <a:avLst/>
                  <a:gdLst>
                    <a:gd name="T0" fmla="*/ 2147483646 w 382"/>
                    <a:gd name="T1" fmla="*/ 2147483646 h 405"/>
                    <a:gd name="T2" fmla="*/ 2147483646 w 382"/>
                    <a:gd name="T3" fmla="*/ 2147483646 h 405"/>
                    <a:gd name="T4" fmla="*/ 2147483646 w 382"/>
                    <a:gd name="T5" fmla="*/ 2147483646 h 405"/>
                    <a:gd name="T6" fmla="*/ 2147483646 w 382"/>
                    <a:gd name="T7" fmla="*/ 2147483646 h 405"/>
                    <a:gd name="T8" fmla="*/ 2147483646 w 382"/>
                    <a:gd name="T9" fmla="*/ 2147483646 h 405"/>
                    <a:gd name="T10" fmla="*/ 2147483646 w 382"/>
                    <a:gd name="T11" fmla="*/ 2147483646 h 405"/>
                    <a:gd name="T12" fmla="*/ 2147483646 w 382"/>
                    <a:gd name="T13" fmla="*/ 2147483646 h 405"/>
                    <a:gd name="T14" fmla="*/ 2147483646 w 382"/>
                    <a:gd name="T15" fmla="*/ 2147483646 h 405"/>
                    <a:gd name="T16" fmla="*/ 0 w 382"/>
                    <a:gd name="T17" fmla="*/ 2147483646 h 405"/>
                    <a:gd name="T18" fmla="*/ 2147483646 w 382"/>
                    <a:gd name="T19" fmla="*/ 2147483646 h 405"/>
                    <a:gd name="T20" fmla="*/ 2147483646 w 382"/>
                    <a:gd name="T21" fmla="*/ 2147483646 h 405"/>
                    <a:gd name="T22" fmla="*/ 2147483646 w 382"/>
                    <a:gd name="T23" fmla="*/ 2147483646 h 405"/>
                    <a:gd name="T24" fmla="*/ 2147483646 w 382"/>
                    <a:gd name="T25" fmla="*/ 2147483646 h 405"/>
                    <a:gd name="T26" fmla="*/ 2147483646 w 382"/>
                    <a:gd name="T27" fmla="*/ 2147483646 h 405"/>
                    <a:gd name="T28" fmla="*/ 2147483646 w 382"/>
                    <a:gd name="T29" fmla="*/ 2147483646 h 405"/>
                    <a:gd name="T30" fmla="*/ 2147483646 w 382"/>
                    <a:gd name="T31" fmla="*/ 2147483646 h 405"/>
                    <a:gd name="T32" fmla="*/ 2147483646 w 382"/>
                    <a:gd name="T33" fmla="*/ 2147483646 h 405"/>
                    <a:gd name="T34" fmla="*/ 2147483646 w 382"/>
                    <a:gd name="T35" fmla="*/ 2147483646 h 405"/>
                    <a:gd name="T36" fmla="*/ 2147483646 w 382"/>
                    <a:gd name="T37" fmla="*/ 2147483646 h 405"/>
                    <a:gd name="T38" fmla="*/ 2147483646 w 382"/>
                    <a:gd name="T39" fmla="*/ 2147483646 h 405"/>
                    <a:gd name="T40" fmla="*/ 2147483646 w 382"/>
                    <a:gd name="T41" fmla="*/ 2147483646 h 405"/>
                    <a:gd name="T42" fmla="*/ 2147483646 w 382"/>
                    <a:gd name="T43" fmla="*/ 2147483646 h 405"/>
                    <a:gd name="T44" fmla="*/ 2147483646 w 382"/>
                    <a:gd name="T45" fmla="*/ 2147483646 h 405"/>
                    <a:gd name="T46" fmla="*/ 2147483646 w 382"/>
                    <a:gd name="T47" fmla="*/ 2147483646 h 405"/>
                    <a:gd name="T48" fmla="*/ 2147483646 w 382"/>
                    <a:gd name="T49" fmla="*/ 2147483646 h 405"/>
                    <a:gd name="T50" fmla="*/ 2147483646 w 382"/>
                    <a:gd name="T51" fmla="*/ 2147483646 h 405"/>
                    <a:gd name="T52" fmla="*/ 2147483646 w 382"/>
                    <a:gd name="T53" fmla="*/ 2147483646 h 405"/>
                    <a:gd name="T54" fmla="*/ 2147483646 w 382"/>
                    <a:gd name="T55" fmla="*/ 2147483646 h 405"/>
                    <a:gd name="T56" fmla="*/ 2147483646 w 382"/>
                    <a:gd name="T57" fmla="*/ 2147483646 h 405"/>
                    <a:gd name="T58" fmla="*/ 2147483646 w 382"/>
                    <a:gd name="T59" fmla="*/ 2147483646 h 405"/>
                    <a:gd name="T60" fmla="*/ 2147483646 w 382"/>
                    <a:gd name="T61" fmla="*/ 2147483646 h 405"/>
                    <a:gd name="T62" fmla="*/ 2147483646 w 382"/>
                    <a:gd name="T63" fmla="*/ 2147483646 h 405"/>
                    <a:gd name="T64" fmla="*/ 2147483646 w 382"/>
                    <a:gd name="T65" fmla="*/ 2147483646 h 405"/>
                    <a:gd name="T66" fmla="*/ 2147483646 w 382"/>
                    <a:gd name="T67" fmla="*/ 2147483646 h 405"/>
                    <a:gd name="T68" fmla="*/ 2147483646 w 382"/>
                    <a:gd name="T69" fmla="*/ 2147483646 h 405"/>
                    <a:gd name="T70" fmla="*/ 2147483646 w 382"/>
                    <a:gd name="T71" fmla="*/ 2147483646 h 405"/>
                    <a:gd name="T72" fmla="*/ 2147483646 w 382"/>
                    <a:gd name="T73" fmla="*/ 2147483646 h 405"/>
                    <a:gd name="T74" fmla="*/ 2147483646 w 382"/>
                    <a:gd name="T75" fmla="*/ 2147483646 h 405"/>
                    <a:gd name="T76" fmla="*/ 2147483646 w 382"/>
                    <a:gd name="T77" fmla="*/ 2147483646 h 405"/>
                    <a:gd name="T78" fmla="*/ 2147483646 w 382"/>
                    <a:gd name="T79" fmla="*/ 2147483646 h 405"/>
                    <a:gd name="T80" fmla="*/ 2147483646 w 382"/>
                    <a:gd name="T81" fmla="*/ 2147483646 h 405"/>
                    <a:gd name="T82" fmla="*/ 2147483646 w 382"/>
                    <a:gd name="T83" fmla="*/ 2147483646 h 405"/>
                    <a:gd name="T84" fmla="*/ 2147483646 w 382"/>
                    <a:gd name="T85" fmla="*/ 2147483646 h 405"/>
                    <a:gd name="T86" fmla="*/ 2147483646 w 382"/>
                    <a:gd name="T87" fmla="*/ 2147483646 h 405"/>
                    <a:gd name="T88" fmla="*/ 2147483646 w 382"/>
                    <a:gd name="T89" fmla="*/ 2147483646 h 405"/>
                    <a:gd name="T90" fmla="*/ 2147483646 w 382"/>
                    <a:gd name="T91" fmla="*/ 2147483646 h 405"/>
                    <a:gd name="T92" fmla="*/ 2147483646 w 382"/>
                    <a:gd name="T93" fmla="*/ 2147483646 h 405"/>
                    <a:gd name="T94" fmla="*/ 2147483646 w 382"/>
                    <a:gd name="T95" fmla="*/ 2147483646 h 405"/>
                    <a:gd name="T96" fmla="*/ 2147483646 w 382"/>
                    <a:gd name="T97" fmla="*/ 2147483646 h 405"/>
                    <a:gd name="T98" fmla="*/ 2147483646 w 382"/>
                    <a:gd name="T99" fmla="*/ 2147483646 h 405"/>
                    <a:gd name="T100" fmla="*/ 2147483646 w 382"/>
                    <a:gd name="T101" fmla="*/ 2147483646 h 405"/>
                    <a:gd name="T102" fmla="*/ 2147483646 w 382"/>
                    <a:gd name="T103" fmla="*/ 2147483646 h 405"/>
                    <a:gd name="T104" fmla="*/ 2147483646 w 382"/>
                    <a:gd name="T105" fmla="*/ 2147483646 h 405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382" h="405">
                      <a:moveTo>
                        <a:pt x="347" y="257"/>
                      </a:moveTo>
                      <a:cubicBezTo>
                        <a:pt x="348" y="202"/>
                        <a:pt x="348" y="202"/>
                        <a:pt x="348" y="202"/>
                      </a:cubicBezTo>
                      <a:cubicBezTo>
                        <a:pt x="349" y="198"/>
                        <a:pt x="345" y="194"/>
                        <a:pt x="341" y="194"/>
                      </a:cubicBezTo>
                      <a:cubicBezTo>
                        <a:pt x="336" y="194"/>
                        <a:pt x="333" y="197"/>
                        <a:pt x="332" y="202"/>
                      </a:cubicBezTo>
                      <a:cubicBezTo>
                        <a:pt x="331" y="257"/>
                        <a:pt x="331" y="257"/>
                        <a:pt x="331" y="257"/>
                      </a:cubicBezTo>
                      <a:cubicBezTo>
                        <a:pt x="325" y="258"/>
                        <a:pt x="319" y="260"/>
                        <a:pt x="314" y="264"/>
                      </a:cubicBezTo>
                      <a:cubicBezTo>
                        <a:pt x="276" y="231"/>
                        <a:pt x="276" y="231"/>
                        <a:pt x="276" y="231"/>
                      </a:cubicBezTo>
                      <a:cubicBezTo>
                        <a:pt x="279" y="225"/>
                        <a:pt x="281" y="219"/>
                        <a:pt x="281" y="212"/>
                      </a:cubicBezTo>
                      <a:cubicBezTo>
                        <a:pt x="281" y="204"/>
                        <a:pt x="279" y="197"/>
                        <a:pt x="275" y="191"/>
                      </a:cubicBezTo>
                      <a:cubicBezTo>
                        <a:pt x="320" y="150"/>
                        <a:pt x="320" y="150"/>
                        <a:pt x="320" y="150"/>
                      </a:cubicBezTo>
                      <a:cubicBezTo>
                        <a:pt x="324" y="153"/>
                        <a:pt x="329" y="155"/>
                        <a:pt x="334" y="156"/>
                      </a:cubicBezTo>
                      <a:cubicBezTo>
                        <a:pt x="333" y="170"/>
                        <a:pt x="333" y="170"/>
                        <a:pt x="333" y="170"/>
                      </a:cubicBezTo>
                      <a:cubicBezTo>
                        <a:pt x="333" y="175"/>
                        <a:pt x="337" y="178"/>
                        <a:pt x="341" y="178"/>
                      </a:cubicBezTo>
                      <a:cubicBezTo>
                        <a:pt x="341" y="178"/>
                        <a:pt x="341" y="178"/>
                        <a:pt x="341" y="178"/>
                      </a:cubicBezTo>
                      <a:cubicBezTo>
                        <a:pt x="346" y="178"/>
                        <a:pt x="349" y="175"/>
                        <a:pt x="349" y="171"/>
                      </a:cubicBezTo>
                      <a:cubicBezTo>
                        <a:pt x="350" y="157"/>
                        <a:pt x="350" y="157"/>
                        <a:pt x="350" y="157"/>
                      </a:cubicBezTo>
                      <a:cubicBezTo>
                        <a:pt x="368" y="153"/>
                        <a:pt x="382" y="137"/>
                        <a:pt x="382" y="118"/>
                      </a:cubicBezTo>
                      <a:cubicBezTo>
                        <a:pt x="382" y="96"/>
                        <a:pt x="365" y="78"/>
                        <a:pt x="343" y="78"/>
                      </a:cubicBezTo>
                      <a:cubicBezTo>
                        <a:pt x="332" y="78"/>
                        <a:pt x="322" y="83"/>
                        <a:pt x="314" y="91"/>
                      </a:cubicBezTo>
                      <a:cubicBezTo>
                        <a:pt x="254" y="53"/>
                        <a:pt x="254" y="53"/>
                        <a:pt x="254" y="53"/>
                      </a:cubicBezTo>
                      <a:cubicBezTo>
                        <a:pt x="255" y="49"/>
                        <a:pt x="256" y="44"/>
                        <a:pt x="256" y="39"/>
                      </a:cubicBezTo>
                      <a:cubicBezTo>
                        <a:pt x="256" y="18"/>
                        <a:pt x="238" y="0"/>
                        <a:pt x="217" y="0"/>
                      </a:cubicBezTo>
                      <a:cubicBezTo>
                        <a:pt x="195" y="0"/>
                        <a:pt x="177" y="18"/>
                        <a:pt x="177" y="39"/>
                      </a:cubicBezTo>
                      <a:cubicBezTo>
                        <a:pt x="177" y="40"/>
                        <a:pt x="177" y="41"/>
                        <a:pt x="177" y="42"/>
                      </a:cubicBezTo>
                      <a:cubicBezTo>
                        <a:pt x="74" y="72"/>
                        <a:pt x="74" y="72"/>
                        <a:pt x="74" y="72"/>
                      </a:cubicBezTo>
                      <a:cubicBezTo>
                        <a:pt x="68" y="60"/>
                        <a:pt x="55" y="51"/>
                        <a:pt x="40" y="51"/>
                      </a:cubicBezTo>
                      <a:cubicBezTo>
                        <a:pt x="18" y="51"/>
                        <a:pt x="0" y="69"/>
                        <a:pt x="0" y="91"/>
                      </a:cubicBezTo>
                      <a:cubicBezTo>
                        <a:pt x="0" y="111"/>
                        <a:pt x="16" y="128"/>
                        <a:pt x="35" y="130"/>
                      </a:cubicBezTo>
                      <a:cubicBezTo>
                        <a:pt x="46" y="237"/>
                        <a:pt x="46" y="237"/>
                        <a:pt x="46" y="237"/>
                      </a:cubicBezTo>
                      <a:cubicBezTo>
                        <a:pt x="30" y="242"/>
                        <a:pt x="19" y="257"/>
                        <a:pt x="19" y="275"/>
                      </a:cubicBezTo>
                      <a:cubicBezTo>
                        <a:pt x="19" y="297"/>
                        <a:pt x="36" y="314"/>
                        <a:pt x="58" y="314"/>
                      </a:cubicBezTo>
                      <a:cubicBezTo>
                        <a:pt x="65" y="314"/>
                        <a:pt x="72" y="312"/>
                        <a:pt x="78" y="309"/>
                      </a:cubicBezTo>
                      <a:cubicBezTo>
                        <a:pt x="109" y="343"/>
                        <a:pt x="109" y="343"/>
                        <a:pt x="109" y="343"/>
                      </a:cubicBezTo>
                      <a:cubicBezTo>
                        <a:pt x="105" y="349"/>
                        <a:pt x="102" y="357"/>
                        <a:pt x="102" y="366"/>
                      </a:cubicBezTo>
                      <a:cubicBezTo>
                        <a:pt x="102" y="387"/>
                        <a:pt x="119" y="405"/>
                        <a:pt x="141" y="405"/>
                      </a:cubicBezTo>
                      <a:cubicBezTo>
                        <a:pt x="163" y="405"/>
                        <a:pt x="181" y="387"/>
                        <a:pt x="181" y="366"/>
                      </a:cubicBezTo>
                      <a:cubicBezTo>
                        <a:pt x="181" y="364"/>
                        <a:pt x="180" y="362"/>
                        <a:pt x="180" y="360"/>
                      </a:cubicBezTo>
                      <a:cubicBezTo>
                        <a:pt x="304" y="316"/>
                        <a:pt x="304" y="316"/>
                        <a:pt x="304" y="316"/>
                      </a:cubicBezTo>
                      <a:cubicBezTo>
                        <a:pt x="311" y="327"/>
                        <a:pt x="323" y="335"/>
                        <a:pt x="337" y="335"/>
                      </a:cubicBezTo>
                      <a:cubicBezTo>
                        <a:pt x="359" y="335"/>
                        <a:pt x="377" y="317"/>
                        <a:pt x="377" y="295"/>
                      </a:cubicBezTo>
                      <a:cubicBezTo>
                        <a:pt x="377" y="277"/>
                        <a:pt x="364" y="261"/>
                        <a:pt x="347" y="257"/>
                      </a:cubicBezTo>
                      <a:close/>
                      <a:moveTo>
                        <a:pt x="343" y="94"/>
                      </a:moveTo>
                      <a:cubicBezTo>
                        <a:pt x="356" y="94"/>
                        <a:pt x="366" y="105"/>
                        <a:pt x="366" y="118"/>
                      </a:cubicBezTo>
                      <a:cubicBezTo>
                        <a:pt x="366" y="131"/>
                        <a:pt x="356" y="141"/>
                        <a:pt x="343" y="141"/>
                      </a:cubicBezTo>
                      <a:cubicBezTo>
                        <a:pt x="330" y="141"/>
                        <a:pt x="320" y="131"/>
                        <a:pt x="320" y="118"/>
                      </a:cubicBezTo>
                      <a:cubicBezTo>
                        <a:pt x="320" y="105"/>
                        <a:pt x="330" y="94"/>
                        <a:pt x="343" y="94"/>
                      </a:cubicBezTo>
                      <a:close/>
                      <a:moveTo>
                        <a:pt x="309" y="138"/>
                      </a:moveTo>
                      <a:cubicBezTo>
                        <a:pt x="265" y="180"/>
                        <a:pt x="265" y="180"/>
                        <a:pt x="265" y="180"/>
                      </a:cubicBezTo>
                      <a:cubicBezTo>
                        <a:pt x="258" y="175"/>
                        <a:pt x="250" y="173"/>
                        <a:pt x="242" y="173"/>
                      </a:cubicBezTo>
                      <a:cubicBezTo>
                        <a:pt x="227" y="173"/>
                        <a:pt x="213" y="181"/>
                        <a:pt x="207" y="194"/>
                      </a:cubicBezTo>
                      <a:cubicBezTo>
                        <a:pt x="167" y="183"/>
                        <a:pt x="167" y="183"/>
                        <a:pt x="167" y="183"/>
                      </a:cubicBezTo>
                      <a:cubicBezTo>
                        <a:pt x="167" y="182"/>
                        <a:pt x="167" y="181"/>
                        <a:pt x="167" y="180"/>
                      </a:cubicBezTo>
                      <a:cubicBezTo>
                        <a:pt x="167" y="179"/>
                        <a:pt x="167" y="178"/>
                        <a:pt x="167" y="177"/>
                      </a:cubicBezTo>
                      <a:cubicBezTo>
                        <a:pt x="308" y="136"/>
                        <a:pt x="308" y="136"/>
                        <a:pt x="308" y="136"/>
                      </a:cubicBezTo>
                      <a:cubicBezTo>
                        <a:pt x="308" y="137"/>
                        <a:pt x="309" y="138"/>
                        <a:pt x="309" y="138"/>
                      </a:cubicBezTo>
                      <a:close/>
                      <a:moveTo>
                        <a:pt x="265" y="212"/>
                      </a:moveTo>
                      <a:cubicBezTo>
                        <a:pt x="265" y="225"/>
                        <a:pt x="255" y="235"/>
                        <a:pt x="242" y="235"/>
                      </a:cubicBezTo>
                      <a:cubicBezTo>
                        <a:pt x="229" y="235"/>
                        <a:pt x="218" y="225"/>
                        <a:pt x="218" y="212"/>
                      </a:cubicBezTo>
                      <a:cubicBezTo>
                        <a:pt x="218" y="199"/>
                        <a:pt x="229" y="189"/>
                        <a:pt x="242" y="189"/>
                      </a:cubicBezTo>
                      <a:cubicBezTo>
                        <a:pt x="255" y="189"/>
                        <a:pt x="265" y="199"/>
                        <a:pt x="265" y="212"/>
                      </a:cubicBezTo>
                      <a:close/>
                      <a:moveTo>
                        <a:pt x="143" y="273"/>
                      </a:moveTo>
                      <a:cubicBezTo>
                        <a:pt x="139" y="218"/>
                        <a:pt x="139" y="218"/>
                        <a:pt x="139" y="218"/>
                      </a:cubicBezTo>
                      <a:cubicBezTo>
                        <a:pt x="149" y="215"/>
                        <a:pt x="158" y="208"/>
                        <a:pt x="163" y="198"/>
                      </a:cubicBezTo>
                      <a:cubicBezTo>
                        <a:pt x="203" y="209"/>
                        <a:pt x="203" y="209"/>
                        <a:pt x="203" y="209"/>
                      </a:cubicBezTo>
                      <a:cubicBezTo>
                        <a:pt x="203" y="210"/>
                        <a:pt x="202" y="211"/>
                        <a:pt x="202" y="212"/>
                      </a:cubicBezTo>
                      <a:cubicBezTo>
                        <a:pt x="202" y="223"/>
                        <a:pt x="207" y="233"/>
                        <a:pt x="214" y="240"/>
                      </a:cubicBezTo>
                      <a:cubicBezTo>
                        <a:pt x="190" y="277"/>
                        <a:pt x="190" y="277"/>
                        <a:pt x="190" y="277"/>
                      </a:cubicBezTo>
                      <a:lnTo>
                        <a:pt x="143" y="273"/>
                      </a:lnTo>
                      <a:close/>
                      <a:moveTo>
                        <a:pt x="180" y="292"/>
                      </a:moveTo>
                      <a:cubicBezTo>
                        <a:pt x="156" y="329"/>
                        <a:pt x="156" y="329"/>
                        <a:pt x="156" y="329"/>
                      </a:cubicBezTo>
                      <a:cubicBezTo>
                        <a:pt x="153" y="328"/>
                        <a:pt x="150" y="327"/>
                        <a:pt x="146" y="327"/>
                      </a:cubicBezTo>
                      <a:cubicBezTo>
                        <a:pt x="144" y="289"/>
                        <a:pt x="144" y="289"/>
                        <a:pt x="144" y="289"/>
                      </a:cubicBezTo>
                      <a:lnTo>
                        <a:pt x="180" y="292"/>
                      </a:lnTo>
                      <a:close/>
                      <a:moveTo>
                        <a:pt x="128" y="204"/>
                      </a:moveTo>
                      <a:cubicBezTo>
                        <a:pt x="115" y="204"/>
                        <a:pt x="105" y="193"/>
                        <a:pt x="105" y="180"/>
                      </a:cubicBezTo>
                      <a:cubicBezTo>
                        <a:pt x="105" y="168"/>
                        <a:pt x="115" y="157"/>
                        <a:pt x="128" y="157"/>
                      </a:cubicBezTo>
                      <a:cubicBezTo>
                        <a:pt x="141" y="157"/>
                        <a:pt x="151" y="168"/>
                        <a:pt x="151" y="180"/>
                      </a:cubicBezTo>
                      <a:cubicBezTo>
                        <a:pt x="151" y="193"/>
                        <a:pt x="141" y="204"/>
                        <a:pt x="128" y="204"/>
                      </a:cubicBezTo>
                      <a:close/>
                      <a:moveTo>
                        <a:pt x="217" y="16"/>
                      </a:moveTo>
                      <a:cubicBezTo>
                        <a:pt x="230" y="16"/>
                        <a:pt x="240" y="27"/>
                        <a:pt x="240" y="39"/>
                      </a:cubicBezTo>
                      <a:cubicBezTo>
                        <a:pt x="240" y="52"/>
                        <a:pt x="230" y="63"/>
                        <a:pt x="217" y="63"/>
                      </a:cubicBezTo>
                      <a:cubicBezTo>
                        <a:pt x="204" y="63"/>
                        <a:pt x="193" y="52"/>
                        <a:pt x="193" y="39"/>
                      </a:cubicBezTo>
                      <a:cubicBezTo>
                        <a:pt x="193" y="27"/>
                        <a:pt x="204" y="16"/>
                        <a:pt x="217" y="16"/>
                      </a:cubicBezTo>
                      <a:close/>
                      <a:moveTo>
                        <a:pt x="202" y="76"/>
                      </a:moveTo>
                      <a:cubicBezTo>
                        <a:pt x="207" y="78"/>
                        <a:pt x="211" y="79"/>
                        <a:pt x="217" y="79"/>
                      </a:cubicBezTo>
                      <a:cubicBezTo>
                        <a:pt x="228" y="79"/>
                        <a:pt x="238" y="74"/>
                        <a:pt x="245" y="67"/>
                      </a:cubicBezTo>
                      <a:cubicBezTo>
                        <a:pt x="306" y="104"/>
                        <a:pt x="306" y="104"/>
                        <a:pt x="306" y="104"/>
                      </a:cubicBezTo>
                      <a:cubicBezTo>
                        <a:pt x="306" y="105"/>
                        <a:pt x="305" y="106"/>
                        <a:pt x="305" y="106"/>
                      </a:cubicBezTo>
                      <a:cubicBezTo>
                        <a:pt x="190" y="96"/>
                        <a:pt x="190" y="96"/>
                        <a:pt x="190" y="96"/>
                      </a:cubicBezTo>
                      <a:lnTo>
                        <a:pt x="202" y="76"/>
                      </a:lnTo>
                      <a:close/>
                      <a:moveTo>
                        <a:pt x="300" y="122"/>
                      </a:moveTo>
                      <a:cubicBezTo>
                        <a:pt x="163" y="162"/>
                        <a:pt x="163" y="162"/>
                        <a:pt x="163" y="162"/>
                      </a:cubicBezTo>
                      <a:cubicBezTo>
                        <a:pt x="161" y="158"/>
                        <a:pt x="158" y="155"/>
                        <a:pt x="155" y="152"/>
                      </a:cubicBezTo>
                      <a:cubicBezTo>
                        <a:pt x="180" y="111"/>
                        <a:pt x="180" y="111"/>
                        <a:pt x="180" y="111"/>
                      </a:cubicBezTo>
                      <a:lnTo>
                        <a:pt x="300" y="122"/>
                      </a:lnTo>
                      <a:close/>
                      <a:moveTo>
                        <a:pt x="182" y="58"/>
                      </a:moveTo>
                      <a:cubicBezTo>
                        <a:pt x="184" y="61"/>
                        <a:pt x="186" y="64"/>
                        <a:pt x="189" y="67"/>
                      </a:cubicBezTo>
                      <a:cubicBezTo>
                        <a:pt x="172" y="95"/>
                        <a:pt x="172" y="95"/>
                        <a:pt x="172" y="95"/>
                      </a:cubicBezTo>
                      <a:cubicBezTo>
                        <a:pt x="83" y="87"/>
                        <a:pt x="83" y="87"/>
                        <a:pt x="83" y="87"/>
                      </a:cubicBezTo>
                      <a:lnTo>
                        <a:pt x="182" y="58"/>
                      </a:lnTo>
                      <a:close/>
                      <a:moveTo>
                        <a:pt x="77" y="102"/>
                      </a:moveTo>
                      <a:cubicBezTo>
                        <a:pt x="162" y="110"/>
                        <a:pt x="162" y="110"/>
                        <a:pt x="162" y="110"/>
                      </a:cubicBezTo>
                      <a:cubicBezTo>
                        <a:pt x="141" y="144"/>
                        <a:pt x="141" y="144"/>
                        <a:pt x="141" y="144"/>
                      </a:cubicBezTo>
                      <a:cubicBezTo>
                        <a:pt x="137" y="142"/>
                        <a:pt x="133" y="141"/>
                        <a:pt x="128" y="141"/>
                      </a:cubicBezTo>
                      <a:cubicBezTo>
                        <a:pt x="120" y="141"/>
                        <a:pt x="113" y="143"/>
                        <a:pt x="107" y="147"/>
                      </a:cubicBezTo>
                      <a:cubicBezTo>
                        <a:pt x="72" y="113"/>
                        <a:pt x="72" y="113"/>
                        <a:pt x="72" y="113"/>
                      </a:cubicBezTo>
                      <a:cubicBezTo>
                        <a:pt x="74" y="109"/>
                        <a:pt x="76" y="106"/>
                        <a:pt x="77" y="102"/>
                      </a:cubicBezTo>
                      <a:close/>
                      <a:moveTo>
                        <a:pt x="95" y="159"/>
                      </a:moveTo>
                      <a:cubicBezTo>
                        <a:pt x="91" y="165"/>
                        <a:pt x="89" y="172"/>
                        <a:pt x="89" y="180"/>
                      </a:cubicBezTo>
                      <a:cubicBezTo>
                        <a:pt x="89" y="191"/>
                        <a:pt x="92" y="200"/>
                        <a:pt x="99" y="207"/>
                      </a:cubicBezTo>
                      <a:cubicBezTo>
                        <a:pt x="75" y="239"/>
                        <a:pt x="75" y="239"/>
                        <a:pt x="75" y="239"/>
                      </a:cubicBezTo>
                      <a:cubicBezTo>
                        <a:pt x="71" y="237"/>
                        <a:pt x="67" y="236"/>
                        <a:pt x="62" y="236"/>
                      </a:cubicBezTo>
                      <a:cubicBezTo>
                        <a:pt x="51" y="128"/>
                        <a:pt x="51" y="128"/>
                        <a:pt x="51" y="128"/>
                      </a:cubicBezTo>
                      <a:cubicBezTo>
                        <a:pt x="55" y="127"/>
                        <a:pt x="58" y="126"/>
                        <a:pt x="61" y="124"/>
                      </a:cubicBezTo>
                      <a:lnTo>
                        <a:pt x="95" y="159"/>
                      </a:lnTo>
                      <a:close/>
                      <a:moveTo>
                        <a:pt x="40" y="114"/>
                      </a:moveTo>
                      <a:cubicBezTo>
                        <a:pt x="27" y="114"/>
                        <a:pt x="16" y="104"/>
                        <a:pt x="16" y="91"/>
                      </a:cubicBezTo>
                      <a:cubicBezTo>
                        <a:pt x="16" y="78"/>
                        <a:pt x="27" y="67"/>
                        <a:pt x="40" y="67"/>
                      </a:cubicBezTo>
                      <a:cubicBezTo>
                        <a:pt x="52" y="67"/>
                        <a:pt x="63" y="78"/>
                        <a:pt x="63" y="91"/>
                      </a:cubicBezTo>
                      <a:cubicBezTo>
                        <a:pt x="63" y="104"/>
                        <a:pt x="52" y="114"/>
                        <a:pt x="40" y="114"/>
                      </a:cubicBezTo>
                      <a:close/>
                      <a:moveTo>
                        <a:pt x="58" y="298"/>
                      </a:moveTo>
                      <a:cubicBezTo>
                        <a:pt x="45" y="298"/>
                        <a:pt x="35" y="288"/>
                        <a:pt x="35" y="275"/>
                      </a:cubicBezTo>
                      <a:cubicBezTo>
                        <a:pt x="35" y="262"/>
                        <a:pt x="45" y="252"/>
                        <a:pt x="58" y="252"/>
                      </a:cubicBezTo>
                      <a:cubicBezTo>
                        <a:pt x="71" y="252"/>
                        <a:pt x="81" y="262"/>
                        <a:pt x="81" y="275"/>
                      </a:cubicBezTo>
                      <a:cubicBezTo>
                        <a:pt x="81" y="288"/>
                        <a:pt x="71" y="298"/>
                        <a:pt x="58" y="298"/>
                      </a:cubicBezTo>
                      <a:close/>
                      <a:moveTo>
                        <a:pt x="112" y="216"/>
                      </a:moveTo>
                      <a:cubicBezTo>
                        <a:pt x="115" y="218"/>
                        <a:pt x="119" y="219"/>
                        <a:pt x="123" y="219"/>
                      </a:cubicBezTo>
                      <a:cubicBezTo>
                        <a:pt x="126" y="272"/>
                        <a:pt x="126" y="272"/>
                        <a:pt x="126" y="272"/>
                      </a:cubicBezTo>
                      <a:cubicBezTo>
                        <a:pt x="97" y="270"/>
                        <a:pt x="97" y="270"/>
                        <a:pt x="97" y="270"/>
                      </a:cubicBezTo>
                      <a:cubicBezTo>
                        <a:pt x="96" y="262"/>
                        <a:pt x="93" y="255"/>
                        <a:pt x="87" y="249"/>
                      </a:cubicBezTo>
                      <a:lnTo>
                        <a:pt x="112" y="216"/>
                      </a:lnTo>
                      <a:close/>
                      <a:moveTo>
                        <a:pt x="90" y="298"/>
                      </a:moveTo>
                      <a:cubicBezTo>
                        <a:pt x="93" y="294"/>
                        <a:pt x="95" y="290"/>
                        <a:pt x="96" y="286"/>
                      </a:cubicBezTo>
                      <a:cubicBezTo>
                        <a:pt x="128" y="288"/>
                        <a:pt x="128" y="288"/>
                        <a:pt x="128" y="288"/>
                      </a:cubicBezTo>
                      <a:cubicBezTo>
                        <a:pt x="130" y="328"/>
                        <a:pt x="130" y="328"/>
                        <a:pt x="130" y="328"/>
                      </a:cubicBezTo>
                      <a:cubicBezTo>
                        <a:pt x="127" y="329"/>
                        <a:pt x="124" y="330"/>
                        <a:pt x="121" y="332"/>
                      </a:cubicBezTo>
                      <a:lnTo>
                        <a:pt x="90" y="298"/>
                      </a:lnTo>
                      <a:close/>
                      <a:moveTo>
                        <a:pt x="141" y="389"/>
                      </a:moveTo>
                      <a:cubicBezTo>
                        <a:pt x="128" y="389"/>
                        <a:pt x="118" y="379"/>
                        <a:pt x="118" y="366"/>
                      </a:cubicBezTo>
                      <a:cubicBezTo>
                        <a:pt x="118" y="353"/>
                        <a:pt x="128" y="342"/>
                        <a:pt x="141" y="342"/>
                      </a:cubicBezTo>
                      <a:cubicBezTo>
                        <a:pt x="154" y="342"/>
                        <a:pt x="165" y="353"/>
                        <a:pt x="165" y="366"/>
                      </a:cubicBezTo>
                      <a:cubicBezTo>
                        <a:pt x="165" y="379"/>
                        <a:pt x="154" y="389"/>
                        <a:pt x="141" y="389"/>
                      </a:cubicBezTo>
                      <a:close/>
                      <a:moveTo>
                        <a:pt x="175" y="345"/>
                      </a:moveTo>
                      <a:cubicBezTo>
                        <a:pt x="173" y="343"/>
                        <a:pt x="171" y="340"/>
                        <a:pt x="169" y="338"/>
                      </a:cubicBezTo>
                      <a:cubicBezTo>
                        <a:pt x="198" y="293"/>
                        <a:pt x="198" y="293"/>
                        <a:pt x="198" y="293"/>
                      </a:cubicBezTo>
                      <a:cubicBezTo>
                        <a:pt x="299" y="301"/>
                        <a:pt x="299" y="301"/>
                        <a:pt x="299" y="301"/>
                      </a:cubicBezTo>
                      <a:cubicBezTo>
                        <a:pt x="299" y="301"/>
                        <a:pt x="299" y="301"/>
                        <a:pt x="299" y="301"/>
                      </a:cubicBezTo>
                      <a:lnTo>
                        <a:pt x="175" y="345"/>
                      </a:lnTo>
                      <a:close/>
                      <a:moveTo>
                        <a:pt x="300" y="285"/>
                      </a:moveTo>
                      <a:cubicBezTo>
                        <a:pt x="208" y="278"/>
                        <a:pt x="208" y="278"/>
                        <a:pt x="208" y="278"/>
                      </a:cubicBezTo>
                      <a:cubicBezTo>
                        <a:pt x="227" y="248"/>
                        <a:pt x="227" y="248"/>
                        <a:pt x="227" y="248"/>
                      </a:cubicBezTo>
                      <a:cubicBezTo>
                        <a:pt x="232" y="250"/>
                        <a:pt x="237" y="251"/>
                        <a:pt x="242" y="251"/>
                      </a:cubicBezTo>
                      <a:cubicBezTo>
                        <a:pt x="251" y="251"/>
                        <a:pt x="259" y="248"/>
                        <a:pt x="266" y="243"/>
                      </a:cubicBezTo>
                      <a:cubicBezTo>
                        <a:pt x="303" y="276"/>
                        <a:pt x="303" y="276"/>
                        <a:pt x="303" y="276"/>
                      </a:cubicBezTo>
                      <a:cubicBezTo>
                        <a:pt x="302" y="279"/>
                        <a:pt x="301" y="282"/>
                        <a:pt x="300" y="285"/>
                      </a:cubicBezTo>
                      <a:close/>
                      <a:moveTo>
                        <a:pt x="337" y="319"/>
                      </a:moveTo>
                      <a:cubicBezTo>
                        <a:pt x="325" y="319"/>
                        <a:pt x="314" y="308"/>
                        <a:pt x="314" y="295"/>
                      </a:cubicBezTo>
                      <a:cubicBezTo>
                        <a:pt x="314" y="282"/>
                        <a:pt x="325" y="272"/>
                        <a:pt x="337" y="272"/>
                      </a:cubicBezTo>
                      <a:cubicBezTo>
                        <a:pt x="350" y="272"/>
                        <a:pt x="361" y="282"/>
                        <a:pt x="361" y="295"/>
                      </a:cubicBezTo>
                      <a:cubicBezTo>
                        <a:pt x="361" y="308"/>
                        <a:pt x="350" y="319"/>
                        <a:pt x="337" y="319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</p:grpSp>
      <p:grpSp>
        <p:nvGrpSpPr>
          <p:cNvPr id="15391" name="Group 26684"/>
          <p:cNvGrpSpPr>
            <a:grpSpLocks/>
          </p:cNvGrpSpPr>
          <p:nvPr/>
        </p:nvGrpSpPr>
        <p:grpSpPr bwMode="auto">
          <a:xfrm>
            <a:off x="8169275" y="3802063"/>
            <a:ext cx="1809750" cy="1512887"/>
            <a:chOff x="6266691" y="3827893"/>
            <a:chExt cx="1810186" cy="1511778"/>
          </a:xfrm>
        </p:grpSpPr>
        <p:sp>
          <p:nvSpPr>
            <p:cNvPr id="15418" name="Freeform 56"/>
            <p:cNvSpPr>
              <a:spLocks noChangeAspect="1" noEditPoints="1"/>
            </p:cNvSpPr>
            <p:nvPr/>
          </p:nvSpPr>
          <p:spPr bwMode="auto">
            <a:xfrm>
              <a:off x="6592888" y="4874533"/>
              <a:ext cx="144462" cy="238125"/>
            </a:xfrm>
            <a:custGeom>
              <a:avLst/>
              <a:gdLst>
                <a:gd name="T0" fmla="*/ 2147483646 w 255"/>
                <a:gd name="T1" fmla="*/ 2147483646 h 412"/>
                <a:gd name="T2" fmla="*/ 2147483646 w 255"/>
                <a:gd name="T3" fmla="*/ 2147483646 h 412"/>
                <a:gd name="T4" fmla="*/ 2147483646 w 255"/>
                <a:gd name="T5" fmla="*/ 2147483646 h 412"/>
                <a:gd name="T6" fmla="*/ 2147483646 w 255"/>
                <a:gd name="T7" fmla="*/ 2147483646 h 412"/>
                <a:gd name="T8" fmla="*/ 2147483646 w 255"/>
                <a:gd name="T9" fmla="*/ 2147483646 h 412"/>
                <a:gd name="T10" fmla="*/ 2147483646 w 255"/>
                <a:gd name="T11" fmla="*/ 2147483646 h 412"/>
                <a:gd name="T12" fmla="*/ 2147483646 w 255"/>
                <a:gd name="T13" fmla="*/ 2147483646 h 412"/>
                <a:gd name="T14" fmla="*/ 2147483646 w 255"/>
                <a:gd name="T15" fmla="*/ 2147483646 h 412"/>
                <a:gd name="T16" fmla="*/ 2147483646 w 255"/>
                <a:gd name="T17" fmla="*/ 2147483646 h 412"/>
                <a:gd name="T18" fmla="*/ 2147483646 w 255"/>
                <a:gd name="T19" fmla="*/ 2147483646 h 412"/>
                <a:gd name="T20" fmla="*/ 2147483646 w 255"/>
                <a:gd name="T21" fmla="*/ 2147483646 h 412"/>
                <a:gd name="T22" fmla="*/ 2147483646 w 255"/>
                <a:gd name="T23" fmla="*/ 2147483646 h 412"/>
                <a:gd name="T24" fmla="*/ 2147483646 w 255"/>
                <a:gd name="T25" fmla="*/ 2147483646 h 412"/>
                <a:gd name="T26" fmla="*/ 2147483646 w 255"/>
                <a:gd name="T27" fmla="*/ 2147483646 h 412"/>
                <a:gd name="T28" fmla="*/ 2147483646 w 255"/>
                <a:gd name="T29" fmla="*/ 2147483646 h 412"/>
                <a:gd name="T30" fmla="*/ 2147483646 w 255"/>
                <a:gd name="T31" fmla="*/ 2147483646 h 412"/>
                <a:gd name="T32" fmla="*/ 2147483646 w 255"/>
                <a:gd name="T33" fmla="*/ 2147483646 h 412"/>
                <a:gd name="T34" fmla="*/ 2147483646 w 255"/>
                <a:gd name="T35" fmla="*/ 2147483646 h 412"/>
                <a:gd name="T36" fmla="*/ 2147483646 w 255"/>
                <a:gd name="T37" fmla="*/ 2147483646 h 412"/>
                <a:gd name="T38" fmla="*/ 2147483646 w 255"/>
                <a:gd name="T39" fmla="*/ 2147483646 h 412"/>
                <a:gd name="T40" fmla="*/ 2147483646 w 255"/>
                <a:gd name="T41" fmla="*/ 2147483646 h 412"/>
                <a:gd name="T42" fmla="*/ 2147483646 w 255"/>
                <a:gd name="T43" fmla="*/ 2147483646 h 412"/>
                <a:gd name="T44" fmla="*/ 2147483646 w 255"/>
                <a:gd name="T45" fmla="*/ 2147483646 h 412"/>
                <a:gd name="T46" fmla="*/ 2147483646 w 255"/>
                <a:gd name="T47" fmla="*/ 2147483646 h 412"/>
                <a:gd name="T48" fmla="*/ 2147483646 w 255"/>
                <a:gd name="T49" fmla="*/ 2147483646 h 412"/>
                <a:gd name="T50" fmla="*/ 2147483646 w 255"/>
                <a:gd name="T51" fmla="*/ 2147483646 h 412"/>
                <a:gd name="T52" fmla="*/ 2147483646 w 255"/>
                <a:gd name="T53" fmla="*/ 2147483646 h 412"/>
                <a:gd name="T54" fmla="*/ 2147483646 w 255"/>
                <a:gd name="T55" fmla="*/ 2147483646 h 412"/>
                <a:gd name="T56" fmla="*/ 2147483646 w 255"/>
                <a:gd name="T57" fmla="*/ 2147483646 h 412"/>
                <a:gd name="T58" fmla="*/ 2147483646 w 255"/>
                <a:gd name="T59" fmla="*/ 2147483646 h 412"/>
                <a:gd name="T60" fmla="*/ 2147483646 w 255"/>
                <a:gd name="T61" fmla="*/ 2147483646 h 412"/>
                <a:gd name="T62" fmla="*/ 2147483646 w 255"/>
                <a:gd name="T63" fmla="*/ 2147483646 h 412"/>
                <a:gd name="T64" fmla="*/ 2147483646 w 255"/>
                <a:gd name="T65" fmla="*/ 2147483646 h 412"/>
                <a:gd name="T66" fmla="*/ 2147483646 w 255"/>
                <a:gd name="T67" fmla="*/ 2147483646 h 412"/>
                <a:gd name="T68" fmla="*/ 2147483646 w 255"/>
                <a:gd name="T69" fmla="*/ 2147483646 h 412"/>
                <a:gd name="T70" fmla="*/ 2147483646 w 255"/>
                <a:gd name="T71" fmla="*/ 2147483646 h 412"/>
                <a:gd name="T72" fmla="*/ 2147483646 w 255"/>
                <a:gd name="T73" fmla="*/ 2147483646 h 412"/>
                <a:gd name="T74" fmla="*/ 2147483646 w 255"/>
                <a:gd name="T75" fmla="*/ 2147483646 h 412"/>
                <a:gd name="T76" fmla="*/ 2147483646 w 255"/>
                <a:gd name="T77" fmla="*/ 2147483646 h 412"/>
                <a:gd name="T78" fmla="*/ 2147483646 w 255"/>
                <a:gd name="T79" fmla="*/ 2147483646 h 412"/>
                <a:gd name="T80" fmla="*/ 2147483646 w 255"/>
                <a:gd name="T81" fmla="*/ 2147483646 h 412"/>
                <a:gd name="T82" fmla="*/ 2147483646 w 255"/>
                <a:gd name="T83" fmla="*/ 2147483646 h 412"/>
                <a:gd name="T84" fmla="*/ 2147483646 w 255"/>
                <a:gd name="T85" fmla="*/ 2147483646 h 412"/>
                <a:gd name="T86" fmla="*/ 2147483646 w 255"/>
                <a:gd name="T87" fmla="*/ 2147483646 h 412"/>
                <a:gd name="T88" fmla="*/ 2147483646 w 255"/>
                <a:gd name="T89" fmla="*/ 2147483646 h 412"/>
                <a:gd name="T90" fmla="*/ 2147483646 w 255"/>
                <a:gd name="T91" fmla="*/ 2147483646 h 412"/>
                <a:gd name="T92" fmla="*/ 2147483646 w 255"/>
                <a:gd name="T93" fmla="*/ 2147483646 h 412"/>
                <a:gd name="T94" fmla="*/ 2147483646 w 255"/>
                <a:gd name="T95" fmla="*/ 2147483646 h 412"/>
                <a:gd name="T96" fmla="*/ 2147483646 w 255"/>
                <a:gd name="T97" fmla="*/ 2147483646 h 412"/>
                <a:gd name="T98" fmla="*/ 2147483646 w 255"/>
                <a:gd name="T99" fmla="*/ 2147483646 h 412"/>
                <a:gd name="T100" fmla="*/ 0 w 255"/>
                <a:gd name="T101" fmla="*/ 2147483646 h 412"/>
                <a:gd name="T102" fmla="*/ 2147483646 w 255"/>
                <a:gd name="T103" fmla="*/ 2147483646 h 412"/>
                <a:gd name="T104" fmla="*/ 2147483646 w 255"/>
                <a:gd name="T105" fmla="*/ 2147483646 h 412"/>
                <a:gd name="T106" fmla="*/ 2147483646 w 255"/>
                <a:gd name="T107" fmla="*/ 2147483646 h 412"/>
                <a:gd name="T108" fmla="*/ 2147483646 w 255"/>
                <a:gd name="T109" fmla="*/ 2147483646 h 412"/>
                <a:gd name="T110" fmla="*/ 2147483646 w 255"/>
                <a:gd name="T111" fmla="*/ 2147483646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19" name="Freeform 61"/>
            <p:cNvSpPr>
              <a:spLocks noChangeAspect="1" noEditPoints="1"/>
            </p:cNvSpPr>
            <p:nvPr/>
          </p:nvSpPr>
          <p:spPr bwMode="auto">
            <a:xfrm>
              <a:off x="6410325" y="4874533"/>
              <a:ext cx="144463" cy="238125"/>
            </a:xfrm>
            <a:custGeom>
              <a:avLst/>
              <a:gdLst>
                <a:gd name="T0" fmla="*/ 2147483646 w 255"/>
                <a:gd name="T1" fmla="*/ 2147483646 h 412"/>
                <a:gd name="T2" fmla="*/ 2147483646 w 255"/>
                <a:gd name="T3" fmla="*/ 2147483646 h 412"/>
                <a:gd name="T4" fmla="*/ 2147483646 w 255"/>
                <a:gd name="T5" fmla="*/ 2147483646 h 412"/>
                <a:gd name="T6" fmla="*/ 2147483646 w 255"/>
                <a:gd name="T7" fmla="*/ 2147483646 h 412"/>
                <a:gd name="T8" fmla="*/ 2147483646 w 255"/>
                <a:gd name="T9" fmla="*/ 2147483646 h 412"/>
                <a:gd name="T10" fmla="*/ 2147483646 w 255"/>
                <a:gd name="T11" fmla="*/ 2147483646 h 412"/>
                <a:gd name="T12" fmla="*/ 2147483646 w 255"/>
                <a:gd name="T13" fmla="*/ 2147483646 h 412"/>
                <a:gd name="T14" fmla="*/ 2147483646 w 255"/>
                <a:gd name="T15" fmla="*/ 2147483646 h 412"/>
                <a:gd name="T16" fmla="*/ 2147483646 w 255"/>
                <a:gd name="T17" fmla="*/ 2147483646 h 412"/>
                <a:gd name="T18" fmla="*/ 2147483646 w 255"/>
                <a:gd name="T19" fmla="*/ 2147483646 h 412"/>
                <a:gd name="T20" fmla="*/ 2147483646 w 255"/>
                <a:gd name="T21" fmla="*/ 2147483646 h 412"/>
                <a:gd name="T22" fmla="*/ 2147483646 w 255"/>
                <a:gd name="T23" fmla="*/ 2147483646 h 412"/>
                <a:gd name="T24" fmla="*/ 2147483646 w 255"/>
                <a:gd name="T25" fmla="*/ 2147483646 h 412"/>
                <a:gd name="T26" fmla="*/ 2147483646 w 255"/>
                <a:gd name="T27" fmla="*/ 2147483646 h 412"/>
                <a:gd name="T28" fmla="*/ 2147483646 w 255"/>
                <a:gd name="T29" fmla="*/ 2147483646 h 412"/>
                <a:gd name="T30" fmla="*/ 2147483646 w 255"/>
                <a:gd name="T31" fmla="*/ 2147483646 h 412"/>
                <a:gd name="T32" fmla="*/ 2147483646 w 255"/>
                <a:gd name="T33" fmla="*/ 2147483646 h 412"/>
                <a:gd name="T34" fmla="*/ 2147483646 w 255"/>
                <a:gd name="T35" fmla="*/ 2147483646 h 412"/>
                <a:gd name="T36" fmla="*/ 2147483646 w 255"/>
                <a:gd name="T37" fmla="*/ 2147483646 h 412"/>
                <a:gd name="T38" fmla="*/ 2147483646 w 255"/>
                <a:gd name="T39" fmla="*/ 2147483646 h 412"/>
                <a:gd name="T40" fmla="*/ 2147483646 w 255"/>
                <a:gd name="T41" fmla="*/ 2147483646 h 412"/>
                <a:gd name="T42" fmla="*/ 2147483646 w 255"/>
                <a:gd name="T43" fmla="*/ 2147483646 h 412"/>
                <a:gd name="T44" fmla="*/ 2147483646 w 255"/>
                <a:gd name="T45" fmla="*/ 2147483646 h 412"/>
                <a:gd name="T46" fmla="*/ 2147483646 w 255"/>
                <a:gd name="T47" fmla="*/ 2147483646 h 412"/>
                <a:gd name="T48" fmla="*/ 2147483646 w 255"/>
                <a:gd name="T49" fmla="*/ 2147483646 h 412"/>
                <a:gd name="T50" fmla="*/ 2147483646 w 255"/>
                <a:gd name="T51" fmla="*/ 2147483646 h 412"/>
                <a:gd name="T52" fmla="*/ 2147483646 w 255"/>
                <a:gd name="T53" fmla="*/ 2147483646 h 412"/>
                <a:gd name="T54" fmla="*/ 2147483646 w 255"/>
                <a:gd name="T55" fmla="*/ 2147483646 h 412"/>
                <a:gd name="T56" fmla="*/ 2147483646 w 255"/>
                <a:gd name="T57" fmla="*/ 2147483646 h 412"/>
                <a:gd name="T58" fmla="*/ 2147483646 w 255"/>
                <a:gd name="T59" fmla="*/ 2147483646 h 412"/>
                <a:gd name="T60" fmla="*/ 2147483646 w 255"/>
                <a:gd name="T61" fmla="*/ 2147483646 h 412"/>
                <a:gd name="T62" fmla="*/ 2147483646 w 255"/>
                <a:gd name="T63" fmla="*/ 2147483646 h 412"/>
                <a:gd name="T64" fmla="*/ 2147483646 w 255"/>
                <a:gd name="T65" fmla="*/ 2147483646 h 412"/>
                <a:gd name="T66" fmla="*/ 2147483646 w 255"/>
                <a:gd name="T67" fmla="*/ 2147483646 h 412"/>
                <a:gd name="T68" fmla="*/ 2147483646 w 255"/>
                <a:gd name="T69" fmla="*/ 2147483646 h 412"/>
                <a:gd name="T70" fmla="*/ 2147483646 w 255"/>
                <a:gd name="T71" fmla="*/ 2147483646 h 412"/>
                <a:gd name="T72" fmla="*/ 2147483646 w 255"/>
                <a:gd name="T73" fmla="*/ 2147483646 h 412"/>
                <a:gd name="T74" fmla="*/ 2147483646 w 255"/>
                <a:gd name="T75" fmla="*/ 2147483646 h 412"/>
                <a:gd name="T76" fmla="*/ 2147483646 w 255"/>
                <a:gd name="T77" fmla="*/ 2147483646 h 412"/>
                <a:gd name="T78" fmla="*/ 2147483646 w 255"/>
                <a:gd name="T79" fmla="*/ 2147483646 h 412"/>
                <a:gd name="T80" fmla="*/ 2147483646 w 255"/>
                <a:gd name="T81" fmla="*/ 2147483646 h 412"/>
                <a:gd name="T82" fmla="*/ 2147483646 w 255"/>
                <a:gd name="T83" fmla="*/ 2147483646 h 412"/>
                <a:gd name="T84" fmla="*/ 2147483646 w 255"/>
                <a:gd name="T85" fmla="*/ 2147483646 h 412"/>
                <a:gd name="T86" fmla="*/ 2147483646 w 255"/>
                <a:gd name="T87" fmla="*/ 2147483646 h 412"/>
                <a:gd name="T88" fmla="*/ 2147483646 w 255"/>
                <a:gd name="T89" fmla="*/ 2147483646 h 412"/>
                <a:gd name="T90" fmla="*/ 2147483646 w 255"/>
                <a:gd name="T91" fmla="*/ 2147483646 h 412"/>
                <a:gd name="T92" fmla="*/ 2147483646 w 255"/>
                <a:gd name="T93" fmla="*/ 2147483646 h 412"/>
                <a:gd name="T94" fmla="*/ 2147483646 w 255"/>
                <a:gd name="T95" fmla="*/ 2147483646 h 412"/>
                <a:gd name="T96" fmla="*/ 2147483646 w 255"/>
                <a:gd name="T97" fmla="*/ 2147483646 h 412"/>
                <a:gd name="T98" fmla="*/ 2147483646 w 255"/>
                <a:gd name="T99" fmla="*/ 2147483646 h 412"/>
                <a:gd name="T100" fmla="*/ 0 w 255"/>
                <a:gd name="T101" fmla="*/ 2147483646 h 412"/>
                <a:gd name="T102" fmla="*/ 2147483646 w 255"/>
                <a:gd name="T103" fmla="*/ 2147483646 h 412"/>
                <a:gd name="T104" fmla="*/ 2147483646 w 255"/>
                <a:gd name="T105" fmla="*/ 2147483646 h 412"/>
                <a:gd name="T106" fmla="*/ 2147483646 w 255"/>
                <a:gd name="T107" fmla="*/ 2147483646 h 412"/>
                <a:gd name="T108" fmla="*/ 2147483646 w 255"/>
                <a:gd name="T109" fmla="*/ 2147483646 h 412"/>
                <a:gd name="T110" fmla="*/ 2147483646 w 255"/>
                <a:gd name="T111" fmla="*/ 2147483646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20" name="Freeform 3"/>
            <p:cNvSpPr>
              <a:spLocks noChangeAspect="1" noEditPoints="1"/>
            </p:cNvSpPr>
            <p:nvPr/>
          </p:nvSpPr>
          <p:spPr bwMode="auto">
            <a:xfrm>
              <a:off x="6943725" y="4899933"/>
              <a:ext cx="388938" cy="246063"/>
            </a:xfrm>
            <a:custGeom>
              <a:avLst/>
              <a:gdLst>
                <a:gd name="T0" fmla="*/ 2147483646 w 462"/>
                <a:gd name="T1" fmla="*/ 2147483646 h 293"/>
                <a:gd name="T2" fmla="*/ 2147483646 w 462"/>
                <a:gd name="T3" fmla="*/ 2147483646 h 293"/>
                <a:gd name="T4" fmla="*/ 2147483646 w 462"/>
                <a:gd name="T5" fmla="*/ 2147483646 h 293"/>
                <a:gd name="T6" fmla="*/ 2147483646 w 462"/>
                <a:gd name="T7" fmla="*/ 2147483646 h 293"/>
                <a:gd name="T8" fmla="*/ 2147483646 w 462"/>
                <a:gd name="T9" fmla="*/ 2147483646 h 293"/>
                <a:gd name="T10" fmla="*/ 2147483646 w 462"/>
                <a:gd name="T11" fmla="*/ 2147483646 h 293"/>
                <a:gd name="T12" fmla="*/ 2147483646 w 462"/>
                <a:gd name="T13" fmla="*/ 2147483646 h 293"/>
                <a:gd name="T14" fmla="*/ 2147483646 w 462"/>
                <a:gd name="T15" fmla="*/ 2147483646 h 293"/>
                <a:gd name="T16" fmla="*/ 2147483646 w 462"/>
                <a:gd name="T17" fmla="*/ 2147483646 h 293"/>
                <a:gd name="T18" fmla="*/ 2147483646 w 462"/>
                <a:gd name="T19" fmla="*/ 2147483646 h 293"/>
                <a:gd name="T20" fmla="*/ 2147483646 w 462"/>
                <a:gd name="T21" fmla="*/ 2147483646 h 293"/>
                <a:gd name="T22" fmla="*/ 2147483646 w 462"/>
                <a:gd name="T23" fmla="*/ 2147483646 h 293"/>
                <a:gd name="T24" fmla="*/ 2147483646 w 462"/>
                <a:gd name="T25" fmla="*/ 2147483646 h 293"/>
                <a:gd name="T26" fmla="*/ 2147483646 w 462"/>
                <a:gd name="T27" fmla="*/ 2147483646 h 293"/>
                <a:gd name="T28" fmla="*/ 2147483646 w 462"/>
                <a:gd name="T29" fmla="*/ 2147483646 h 293"/>
                <a:gd name="T30" fmla="*/ 2147483646 w 462"/>
                <a:gd name="T31" fmla="*/ 2147483646 h 293"/>
                <a:gd name="T32" fmla="*/ 2147483646 w 462"/>
                <a:gd name="T33" fmla="*/ 2147483646 h 293"/>
                <a:gd name="T34" fmla="*/ 2147483646 w 462"/>
                <a:gd name="T35" fmla="*/ 2147483646 h 293"/>
                <a:gd name="T36" fmla="*/ 2147483646 w 462"/>
                <a:gd name="T37" fmla="*/ 2147483646 h 293"/>
                <a:gd name="T38" fmla="*/ 2147483646 w 462"/>
                <a:gd name="T39" fmla="*/ 2147483646 h 293"/>
                <a:gd name="T40" fmla="*/ 2147483646 w 462"/>
                <a:gd name="T41" fmla="*/ 2147483646 h 293"/>
                <a:gd name="T42" fmla="*/ 2147483646 w 462"/>
                <a:gd name="T43" fmla="*/ 2147483646 h 293"/>
                <a:gd name="T44" fmla="*/ 2147483646 w 462"/>
                <a:gd name="T45" fmla="*/ 2147483646 h 293"/>
                <a:gd name="T46" fmla="*/ 2147483646 w 462"/>
                <a:gd name="T47" fmla="*/ 2147483646 h 293"/>
                <a:gd name="T48" fmla="*/ 2147483646 w 462"/>
                <a:gd name="T49" fmla="*/ 2147483646 h 293"/>
                <a:gd name="T50" fmla="*/ 2147483646 w 462"/>
                <a:gd name="T51" fmla="*/ 2147483646 h 293"/>
                <a:gd name="T52" fmla="*/ 2147483646 w 462"/>
                <a:gd name="T53" fmla="*/ 2147483646 h 293"/>
                <a:gd name="T54" fmla="*/ 2147483646 w 462"/>
                <a:gd name="T55" fmla="*/ 2147483646 h 293"/>
                <a:gd name="T56" fmla="*/ 2147483646 w 462"/>
                <a:gd name="T57" fmla="*/ 2147483646 h 293"/>
                <a:gd name="T58" fmla="*/ 2147483646 w 462"/>
                <a:gd name="T59" fmla="*/ 2147483646 h 293"/>
                <a:gd name="T60" fmla="*/ 2147483646 w 462"/>
                <a:gd name="T61" fmla="*/ 2147483646 h 293"/>
                <a:gd name="T62" fmla="*/ 2147483646 w 462"/>
                <a:gd name="T63" fmla="*/ 2147483646 h 293"/>
                <a:gd name="T64" fmla="*/ 2147483646 w 462"/>
                <a:gd name="T65" fmla="*/ 2147483646 h 293"/>
                <a:gd name="T66" fmla="*/ 2147483646 w 462"/>
                <a:gd name="T67" fmla="*/ 2147483646 h 293"/>
                <a:gd name="T68" fmla="*/ 2147483646 w 462"/>
                <a:gd name="T69" fmla="*/ 2147483646 h 293"/>
                <a:gd name="T70" fmla="*/ 2147483646 w 462"/>
                <a:gd name="T71" fmla="*/ 2147483646 h 293"/>
                <a:gd name="T72" fmla="*/ 2147483646 w 462"/>
                <a:gd name="T73" fmla="*/ 2147483646 h 293"/>
                <a:gd name="T74" fmla="*/ 2147483646 w 462"/>
                <a:gd name="T75" fmla="*/ 2147483646 h 293"/>
                <a:gd name="T76" fmla="*/ 2147483646 w 462"/>
                <a:gd name="T77" fmla="*/ 2147483646 h 293"/>
                <a:gd name="T78" fmla="*/ 2147483646 w 462"/>
                <a:gd name="T79" fmla="*/ 2147483646 h 293"/>
                <a:gd name="T80" fmla="*/ 2147483646 w 462"/>
                <a:gd name="T81" fmla="*/ 2147483646 h 293"/>
                <a:gd name="T82" fmla="*/ 2147483646 w 462"/>
                <a:gd name="T83" fmla="*/ 2147483646 h 293"/>
                <a:gd name="T84" fmla="*/ 2147483646 w 462"/>
                <a:gd name="T85" fmla="*/ 2147483646 h 293"/>
                <a:gd name="T86" fmla="*/ 2147483646 w 462"/>
                <a:gd name="T87" fmla="*/ 2147483646 h 293"/>
                <a:gd name="T88" fmla="*/ 2147483646 w 462"/>
                <a:gd name="T89" fmla="*/ 2147483646 h 293"/>
                <a:gd name="T90" fmla="*/ 2147483646 w 462"/>
                <a:gd name="T91" fmla="*/ 2147483646 h 293"/>
                <a:gd name="T92" fmla="*/ 2147483646 w 462"/>
                <a:gd name="T93" fmla="*/ 2147483646 h 293"/>
                <a:gd name="T94" fmla="*/ 2147483646 w 462"/>
                <a:gd name="T95" fmla="*/ 2147483646 h 293"/>
                <a:gd name="T96" fmla="*/ 2147483646 w 462"/>
                <a:gd name="T97" fmla="*/ 2147483646 h 293"/>
                <a:gd name="T98" fmla="*/ 2147483646 w 462"/>
                <a:gd name="T99" fmla="*/ 2147483646 h 2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62" h="293">
                  <a:moveTo>
                    <a:pt x="348" y="111"/>
                  </a:moveTo>
                  <a:cubicBezTo>
                    <a:pt x="348" y="96"/>
                    <a:pt x="337" y="85"/>
                    <a:pt x="322" y="85"/>
                  </a:cubicBezTo>
                  <a:cubicBezTo>
                    <a:pt x="313" y="85"/>
                    <a:pt x="304" y="90"/>
                    <a:pt x="300" y="98"/>
                  </a:cubicBezTo>
                  <a:cubicBezTo>
                    <a:pt x="238" y="86"/>
                    <a:pt x="238" y="86"/>
                    <a:pt x="238" y="86"/>
                  </a:cubicBezTo>
                  <a:cubicBezTo>
                    <a:pt x="236" y="73"/>
                    <a:pt x="226" y="63"/>
                    <a:pt x="212" y="63"/>
                  </a:cubicBezTo>
                  <a:cubicBezTo>
                    <a:pt x="198" y="63"/>
                    <a:pt x="186" y="74"/>
                    <a:pt x="186" y="89"/>
                  </a:cubicBezTo>
                  <a:cubicBezTo>
                    <a:pt x="186" y="90"/>
                    <a:pt x="187" y="91"/>
                    <a:pt x="187" y="92"/>
                  </a:cubicBezTo>
                  <a:cubicBezTo>
                    <a:pt x="160" y="105"/>
                    <a:pt x="160" y="105"/>
                    <a:pt x="160" y="105"/>
                  </a:cubicBezTo>
                  <a:cubicBezTo>
                    <a:pt x="155" y="100"/>
                    <a:pt x="148" y="97"/>
                    <a:pt x="141" y="97"/>
                  </a:cubicBezTo>
                  <a:cubicBezTo>
                    <a:pt x="127" y="97"/>
                    <a:pt x="115" y="108"/>
                    <a:pt x="115" y="122"/>
                  </a:cubicBezTo>
                  <a:cubicBezTo>
                    <a:pt x="115" y="134"/>
                    <a:pt x="123" y="144"/>
                    <a:pt x="133" y="147"/>
                  </a:cubicBezTo>
                  <a:cubicBezTo>
                    <a:pt x="133" y="193"/>
                    <a:pt x="133" y="193"/>
                    <a:pt x="133" y="193"/>
                  </a:cubicBezTo>
                  <a:cubicBezTo>
                    <a:pt x="123" y="196"/>
                    <a:pt x="115" y="206"/>
                    <a:pt x="115" y="217"/>
                  </a:cubicBezTo>
                  <a:cubicBezTo>
                    <a:pt x="115" y="232"/>
                    <a:pt x="127" y="243"/>
                    <a:pt x="141" y="243"/>
                  </a:cubicBezTo>
                  <a:cubicBezTo>
                    <a:pt x="151" y="243"/>
                    <a:pt x="159" y="238"/>
                    <a:pt x="163" y="230"/>
                  </a:cubicBezTo>
                  <a:cubicBezTo>
                    <a:pt x="225" y="242"/>
                    <a:pt x="225" y="242"/>
                    <a:pt x="225" y="242"/>
                  </a:cubicBezTo>
                  <a:cubicBezTo>
                    <a:pt x="227" y="255"/>
                    <a:pt x="238" y="265"/>
                    <a:pt x="251" y="265"/>
                  </a:cubicBezTo>
                  <a:cubicBezTo>
                    <a:pt x="265" y="265"/>
                    <a:pt x="277" y="253"/>
                    <a:pt x="277" y="239"/>
                  </a:cubicBezTo>
                  <a:cubicBezTo>
                    <a:pt x="277" y="238"/>
                    <a:pt x="277" y="237"/>
                    <a:pt x="277" y="236"/>
                  </a:cubicBezTo>
                  <a:cubicBezTo>
                    <a:pt x="304" y="224"/>
                    <a:pt x="304" y="224"/>
                    <a:pt x="304" y="224"/>
                  </a:cubicBezTo>
                  <a:cubicBezTo>
                    <a:pt x="308" y="229"/>
                    <a:pt x="315" y="232"/>
                    <a:pt x="322" y="232"/>
                  </a:cubicBezTo>
                  <a:cubicBezTo>
                    <a:pt x="337" y="232"/>
                    <a:pt x="348" y="220"/>
                    <a:pt x="348" y="206"/>
                  </a:cubicBezTo>
                  <a:cubicBezTo>
                    <a:pt x="348" y="195"/>
                    <a:pt x="341" y="185"/>
                    <a:pt x="330" y="181"/>
                  </a:cubicBezTo>
                  <a:cubicBezTo>
                    <a:pt x="330" y="135"/>
                    <a:pt x="330" y="135"/>
                    <a:pt x="330" y="135"/>
                  </a:cubicBezTo>
                  <a:cubicBezTo>
                    <a:pt x="341" y="132"/>
                    <a:pt x="348" y="122"/>
                    <a:pt x="348" y="111"/>
                  </a:cubicBezTo>
                  <a:close/>
                  <a:moveTo>
                    <a:pt x="235" y="101"/>
                  </a:moveTo>
                  <a:cubicBezTo>
                    <a:pt x="297" y="114"/>
                    <a:pt x="297" y="114"/>
                    <a:pt x="297" y="114"/>
                  </a:cubicBezTo>
                  <a:cubicBezTo>
                    <a:pt x="297" y="114"/>
                    <a:pt x="297" y="114"/>
                    <a:pt x="297" y="114"/>
                  </a:cubicBezTo>
                  <a:cubicBezTo>
                    <a:pt x="270" y="127"/>
                    <a:pt x="270" y="127"/>
                    <a:pt x="270" y="127"/>
                  </a:cubicBezTo>
                  <a:cubicBezTo>
                    <a:pt x="265" y="122"/>
                    <a:pt x="258" y="119"/>
                    <a:pt x="251" y="119"/>
                  </a:cubicBezTo>
                  <a:cubicBezTo>
                    <a:pt x="241" y="119"/>
                    <a:pt x="233" y="124"/>
                    <a:pt x="228" y="132"/>
                  </a:cubicBezTo>
                  <a:cubicBezTo>
                    <a:pt x="220" y="130"/>
                    <a:pt x="220" y="130"/>
                    <a:pt x="220" y="130"/>
                  </a:cubicBezTo>
                  <a:cubicBezTo>
                    <a:pt x="220" y="113"/>
                    <a:pt x="220" y="113"/>
                    <a:pt x="220" y="113"/>
                  </a:cubicBezTo>
                  <a:cubicBezTo>
                    <a:pt x="227" y="111"/>
                    <a:pt x="232" y="107"/>
                    <a:pt x="235" y="101"/>
                  </a:cubicBezTo>
                  <a:close/>
                  <a:moveTo>
                    <a:pt x="220" y="160"/>
                  </a:moveTo>
                  <a:cubicBezTo>
                    <a:pt x="220" y="147"/>
                    <a:pt x="220" y="147"/>
                    <a:pt x="220" y="147"/>
                  </a:cubicBezTo>
                  <a:cubicBezTo>
                    <a:pt x="225" y="148"/>
                    <a:pt x="225" y="148"/>
                    <a:pt x="225" y="148"/>
                  </a:cubicBezTo>
                  <a:cubicBezTo>
                    <a:pt x="227" y="158"/>
                    <a:pt x="234" y="166"/>
                    <a:pt x="243" y="169"/>
                  </a:cubicBezTo>
                  <a:cubicBezTo>
                    <a:pt x="243" y="182"/>
                    <a:pt x="243" y="182"/>
                    <a:pt x="243" y="182"/>
                  </a:cubicBezTo>
                  <a:cubicBezTo>
                    <a:pt x="238" y="181"/>
                    <a:pt x="238" y="181"/>
                    <a:pt x="238" y="181"/>
                  </a:cubicBezTo>
                  <a:cubicBezTo>
                    <a:pt x="237" y="171"/>
                    <a:pt x="230" y="163"/>
                    <a:pt x="220" y="160"/>
                  </a:cubicBezTo>
                  <a:close/>
                  <a:moveTo>
                    <a:pt x="222" y="184"/>
                  </a:moveTo>
                  <a:cubicBezTo>
                    <a:pt x="222" y="190"/>
                    <a:pt x="218" y="194"/>
                    <a:pt x="212" y="194"/>
                  </a:cubicBezTo>
                  <a:cubicBezTo>
                    <a:pt x="207" y="194"/>
                    <a:pt x="202" y="190"/>
                    <a:pt x="202" y="184"/>
                  </a:cubicBezTo>
                  <a:cubicBezTo>
                    <a:pt x="202" y="179"/>
                    <a:pt x="207" y="174"/>
                    <a:pt x="212" y="174"/>
                  </a:cubicBezTo>
                  <a:cubicBezTo>
                    <a:pt x="218" y="174"/>
                    <a:pt x="222" y="179"/>
                    <a:pt x="222" y="184"/>
                  </a:cubicBezTo>
                  <a:close/>
                  <a:moveTo>
                    <a:pt x="241" y="144"/>
                  </a:moveTo>
                  <a:cubicBezTo>
                    <a:pt x="241" y="139"/>
                    <a:pt x="246" y="135"/>
                    <a:pt x="251" y="135"/>
                  </a:cubicBezTo>
                  <a:cubicBezTo>
                    <a:pt x="256" y="135"/>
                    <a:pt x="261" y="139"/>
                    <a:pt x="261" y="144"/>
                  </a:cubicBezTo>
                  <a:cubicBezTo>
                    <a:pt x="261" y="150"/>
                    <a:pt x="256" y="154"/>
                    <a:pt x="251" y="154"/>
                  </a:cubicBezTo>
                  <a:cubicBezTo>
                    <a:pt x="246" y="154"/>
                    <a:pt x="241" y="150"/>
                    <a:pt x="241" y="144"/>
                  </a:cubicBezTo>
                  <a:close/>
                  <a:moveTo>
                    <a:pt x="212" y="79"/>
                  </a:moveTo>
                  <a:cubicBezTo>
                    <a:pt x="218" y="79"/>
                    <a:pt x="222" y="83"/>
                    <a:pt x="222" y="89"/>
                  </a:cubicBezTo>
                  <a:cubicBezTo>
                    <a:pt x="222" y="94"/>
                    <a:pt x="218" y="99"/>
                    <a:pt x="212" y="99"/>
                  </a:cubicBezTo>
                  <a:cubicBezTo>
                    <a:pt x="207" y="99"/>
                    <a:pt x="202" y="94"/>
                    <a:pt x="202" y="89"/>
                  </a:cubicBezTo>
                  <a:cubicBezTo>
                    <a:pt x="202" y="83"/>
                    <a:pt x="207" y="79"/>
                    <a:pt x="212" y="79"/>
                  </a:cubicBezTo>
                  <a:close/>
                  <a:moveTo>
                    <a:pt x="194" y="106"/>
                  </a:moveTo>
                  <a:cubicBezTo>
                    <a:pt x="197" y="110"/>
                    <a:pt x="200" y="112"/>
                    <a:pt x="204" y="113"/>
                  </a:cubicBezTo>
                  <a:cubicBezTo>
                    <a:pt x="204" y="127"/>
                    <a:pt x="204" y="127"/>
                    <a:pt x="204" y="127"/>
                  </a:cubicBezTo>
                  <a:cubicBezTo>
                    <a:pt x="167" y="120"/>
                    <a:pt x="167" y="120"/>
                    <a:pt x="167" y="120"/>
                  </a:cubicBezTo>
                  <a:cubicBezTo>
                    <a:pt x="167" y="120"/>
                    <a:pt x="167" y="119"/>
                    <a:pt x="167" y="119"/>
                  </a:cubicBezTo>
                  <a:lnTo>
                    <a:pt x="194" y="106"/>
                  </a:lnTo>
                  <a:close/>
                  <a:moveTo>
                    <a:pt x="131" y="122"/>
                  </a:moveTo>
                  <a:cubicBezTo>
                    <a:pt x="131" y="117"/>
                    <a:pt x="136" y="113"/>
                    <a:pt x="141" y="113"/>
                  </a:cubicBezTo>
                  <a:cubicBezTo>
                    <a:pt x="146" y="113"/>
                    <a:pt x="151" y="117"/>
                    <a:pt x="151" y="122"/>
                  </a:cubicBezTo>
                  <a:cubicBezTo>
                    <a:pt x="151" y="128"/>
                    <a:pt x="146" y="132"/>
                    <a:pt x="141" y="132"/>
                  </a:cubicBezTo>
                  <a:cubicBezTo>
                    <a:pt x="136" y="132"/>
                    <a:pt x="131" y="128"/>
                    <a:pt x="131" y="122"/>
                  </a:cubicBezTo>
                  <a:close/>
                  <a:moveTo>
                    <a:pt x="141" y="227"/>
                  </a:moveTo>
                  <a:cubicBezTo>
                    <a:pt x="136" y="227"/>
                    <a:pt x="131" y="223"/>
                    <a:pt x="131" y="217"/>
                  </a:cubicBezTo>
                  <a:cubicBezTo>
                    <a:pt x="131" y="212"/>
                    <a:pt x="136" y="207"/>
                    <a:pt x="141" y="207"/>
                  </a:cubicBezTo>
                  <a:cubicBezTo>
                    <a:pt x="146" y="207"/>
                    <a:pt x="151" y="212"/>
                    <a:pt x="151" y="217"/>
                  </a:cubicBezTo>
                  <a:cubicBezTo>
                    <a:pt x="151" y="223"/>
                    <a:pt x="146" y="227"/>
                    <a:pt x="141" y="227"/>
                  </a:cubicBezTo>
                  <a:close/>
                  <a:moveTo>
                    <a:pt x="160" y="200"/>
                  </a:moveTo>
                  <a:cubicBezTo>
                    <a:pt x="157" y="197"/>
                    <a:pt x="153" y="194"/>
                    <a:pt x="149" y="193"/>
                  </a:cubicBezTo>
                  <a:cubicBezTo>
                    <a:pt x="149" y="147"/>
                    <a:pt x="149" y="147"/>
                    <a:pt x="149" y="147"/>
                  </a:cubicBezTo>
                  <a:cubicBezTo>
                    <a:pt x="155" y="145"/>
                    <a:pt x="160" y="141"/>
                    <a:pt x="163" y="136"/>
                  </a:cubicBezTo>
                  <a:cubicBezTo>
                    <a:pt x="204" y="144"/>
                    <a:pt x="204" y="144"/>
                    <a:pt x="204" y="144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194" y="163"/>
                    <a:pt x="186" y="173"/>
                    <a:pt x="186" y="184"/>
                  </a:cubicBezTo>
                  <a:cubicBezTo>
                    <a:pt x="186" y="185"/>
                    <a:pt x="187" y="186"/>
                    <a:pt x="187" y="187"/>
                  </a:cubicBezTo>
                  <a:lnTo>
                    <a:pt x="160" y="200"/>
                  </a:lnTo>
                  <a:close/>
                  <a:moveTo>
                    <a:pt x="228" y="227"/>
                  </a:moveTo>
                  <a:cubicBezTo>
                    <a:pt x="167" y="214"/>
                    <a:pt x="167" y="214"/>
                    <a:pt x="167" y="214"/>
                  </a:cubicBezTo>
                  <a:cubicBezTo>
                    <a:pt x="194" y="202"/>
                    <a:pt x="194" y="202"/>
                    <a:pt x="194" y="202"/>
                  </a:cubicBezTo>
                  <a:cubicBezTo>
                    <a:pt x="198" y="207"/>
                    <a:pt x="205" y="210"/>
                    <a:pt x="212" y="210"/>
                  </a:cubicBezTo>
                  <a:cubicBezTo>
                    <a:pt x="222" y="210"/>
                    <a:pt x="230" y="205"/>
                    <a:pt x="235" y="197"/>
                  </a:cubicBezTo>
                  <a:cubicBezTo>
                    <a:pt x="243" y="198"/>
                    <a:pt x="243" y="198"/>
                    <a:pt x="243" y="198"/>
                  </a:cubicBezTo>
                  <a:cubicBezTo>
                    <a:pt x="243" y="215"/>
                    <a:pt x="243" y="215"/>
                    <a:pt x="243" y="215"/>
                  </a:cubicBezTo>
                  <a:cubicBezTo>
                    <a:pt x="237" y="217"/>
                    <a:pt x="232" y="221"/>
                    <a:pt x="228" y="227"/>
                  </a:cubicBezTo>
                  <a:close/>
                  <a:moveTo>
                    <a:pt x="251" y="249"/>
                  </a:moveTo>
                  <a:cubicBezTo>
                    <a:pt x="246" y="249"/>
                    <a:pt x="241" y="245"/>
                    <a:pt x="241" y="239"/>
                  </a:cubicBezTo>
                  <a:cubicBezTo>
                    <a:pt x="241" y="234"/>
                    <a:pt x="246" y="229"/>
                    <a:pt x="251" y="229"/>
                  </a:cubicBezTo>
                  <a:cubicBezTo>
                    <a:pt x="256" y="229"/>
                    <a:pt x="261" y="234"/>
                    <a:pt x="261" y="239"/>
                  </a:cubicBezTo>
                  <a:cubicBezTo>
                    <a:pt x="261" y="245"/>
                    <a:pt x="256" y="249"/>
                    <a:pt x="251" y="249"/>
                  </a:cubicBezTo>
                  <a:close/>
                  <a:moveTo>
                    <a:pt x="270" y="222"/>
                  </a:moveTo>
                  <a:cubicBezTo>
                    <a:pt x="267" y="219"/>
                    <a:pt x="263" y="216"/>
                    <a:pt x="259" y="215"/>
                  </a:cubicBezTo>
                  <a:cubicBezTo>
                    <a:pt x="259" y="202"/>
                    <a:pt x="259" y="202"/>
                    <a:pt x="259" y="202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97" y="209"/>
                    <a:pt x="297" y="209"/>
                    <a:pt x="297" y="209"/>
                  </a:cubicBezTo>
                  <a:lnTo>
                    <a:pt x="270" y="222"/>
                  </a:lnTo>
                  <a:close/>
                  <a:moveTo>
                    <a:pt x="300" y="193"/>
                  </a:moveTo>
                  <a:cubicBezTo>
                    <a:pt x="259" y="185"/>
                    <a:pt x="259" y="185"/>
                    <a:pt x="259" y="185"/>
                  </a:cubicBezTo>
                  <a:cubicBezTo>
                    <a:pt x="259" y="169"/>
                    <a:pt x="259" y="169"/>
                    <a:pt x="259" y="169"/>
                  </a:cubicBezTo>
                  <a:cubicBezTo>
                    <a:pt x="269" y="166"/>
                    <a:pt x="277" y="156"/>
                    <a:pt x="277" y="144"/>
                  </a:cubicBezTo>
                  <a:cubicBezTo>
                    <a:pt x="277" y="143"/>
                    <a:pt x="277" y="142"/>
                    <a:pt x="277" y="141"/>
                  </a:cubicBezTo>
                  <a:cubicBezTo>
                    <a:pt x="304" y="128"/>
                    <a:pt x="304" y="128"/>
                    <a:pt x="304" y="128"/>
                  </a:cubicBezTo>
                  <a:cubicBezTo>
                    <a:pt x="306" y="131"/>
                    <a:pt x="310" y="134"/>
                    <a:pt x="314" y="135"/>
                  </a:cubicBezTo>
                  <a:cubicBezTo>
                    <a:pt x="314" y="181"/>
                    <a:pt x="314" y="181"/>
                    <a:pt x="314" y="181"/>
                  </a:cubicBezTo>
                  <a:cubicBezTo>
                    <a:pt x="308" y="183"/>
                    <a:pt x="303" y="188"/>
                    <a:pt x="300" y="193"/>
                  </a:cubicBezTo>
                  <a:close/>
                  <a:moveTo>
                    <a:pt x="332" y="206"/>
                  </a:moveTo>
                  <a:cubicBezTo>
                    <a:pt x="332" y="211"/>
                    <a:pt x="328" y="216"/>
                    <a:pt x="322" y="216"/>
                  </a:cubicBezTo>
                  <a:cubicBezTo>
                    <a:pt x="317" y="216"/>
                    <a:pt x="312" y="211"/>
                    <a:pt x="312" y="206"/>
                  </a:cubicBezTo>
                  <a:cubicBezTo>
                    <a:pt x="312" y="201"/>
                    <a:pt x="317" y="196"/>
                    <a:pt x="322" y="196"/>
                  </a:cubicBezTo>
                  <a:cubicBezTo>
                    <a:pt x="328" y="196"/>
                    <a:pt x="332" y="201"/>
                    <a:pt x="332" y="206"/>
                  </a:cubicBezTo>
                  <a:close/>
                  <a:moveTo>
                    <a:pt x="322" y="120"/>
                  </a:moveTo>
                  <a:cubicBezTo>
                    <a:pt x="317" y="120"/>
                    <a:pt x="312" y="116"/>
                    <a:pt x="312" y="111"/>
                  </a:cubicBezTo>
                  <a:cubicBezTo>
                    <a:pt x="312" y="105"/>
                    <a:pt x="317" y="101"/>
                    <a:pt x="322" y="101"/>
                  </a:cubicBezTo>
                  <a:cubicBezTo>
                    <a:pt x="328" y="101"/>
                    <a:pt x="332" y="105"/>
                    <a:pt x="332" y="111"/>
                  </a:cubicBezTo>
                  <a:cubicBezTo>
                    <a:pt x="332" y="116"/>
                    <a:pt x="328" y="120"/>
                    <a:pt x="322" y="120"/>
                  </a:cubicBezTo>
                  <a:close/>
                  <a:moveTo>
                    <a:pt x="435" y="148"/>
                  </a:moveTo>
                  <a:cubicBezTo>
                    <a:pt x="437" y="140"/>
                    <a:pt x="439" y="132"/>
                    <a:pt x="439" y="123"/>
                  </a:cubicBezTo>
                  <a:cubicBezTo>
                    <a:pt x="439" y="104"/>
                    <a:pt x="433" y="86"/>
                    <a:pt x="422" y="70"/>
                  </a:cubicBezTo>
                  <a:cubicBezTo>
                    <a:pt x="420" y="67"/>
                    <a:pt x="415" y="66"/>
                    <a:pt x="411" y="68"/>
                  </a:cubicBezTo>
                  <a:cubicBezTo>
                    <a:pt x="407" y="71"/>
                    <a:pt x="406" y="76"/>
                    <a:pt x="409" y="79"/>
                  </a:cubicBezTo>
                  <a:cubicBezTo>
                    <a:pt x="418" y="92"/>
                    <a:pt x="423" y="108"/>
                    <a:pt x="423" y="123"/>
                  </a:cubicBezTo>
                  <a:cubicBezTo>
                    <a:pt x="423" y="132"/>
                    <a:pt x="421" y="140"/>
                    <a:pt x="419" y="148"/>
                  </a:cubicBezTo>
                  <a:cubicBezTo>
                    <a:pt x="418" y="151"/>
                    <a:pt x="419" y="154"/>
                    <a:pt x="421" y="156"/>
                  </a:cubicBezTo>
                  <a:cubicBezTo>
                    <a:pt x="437" y="170"/>
                    <a:pt x="446" y="189"/>
                    <a:pt x="446" y="209"/>
                  </a:cubicBezTo>
                  <a:cubicBezTo>
                    <a:pt x="446" y="247"/>
                    <a:pt x="415" y="277"/>
                    <a:pt x="378" y="277"/>
                  </a:cubicBezTo>
                  <a:cubicBezTo>
                    <a:pt x="88" y="277"/>
                    <a:pt x="88" y="277"/>
                    <a:pt x="88" y="277"/>
                  </a:cubicBezTo>
                  <a:cubicBezTo>
                    <a:pt x="48" y="277"/>
                    <a:pt x="16" y="245"/>
                    <a:pt x="16" y="206"/>
                  </a:cubicBezTo>
                  <a:cubicBezTo>
                    <a:pt x="16" y="178"/>
                    <a:pt x="31" y="154"/>
                    <a:pt x="56" y="141"/>
                  </a:cubicBezTo>
                  <a:cubicBezTo>
                    <a:pt x="59" y="140"/>
                    <a:pt x="60" y="137"/>
                    <a:pt x="60" y="134"/>
                  </a:cubicBezTo>
                  <a:cubicBezTo>
                    <a:pt x="60" y="134"/>
                    <a:pt x="60" y="133"/>
                    <a:pt x="60" y="133"/>
                  </a:cubicBezTo>
                  <a:cubicBezTo>
                    <a:pt x="60" y="69"/>
                    <a:pt x="113" y="16"/>
                    <a:pt x="178" y="16"/>
                  </a:cubicBezTo>
                  <a:cubicBezTo>
                    <a:pt x="217" y="16"/>
                    <a:pt x="254" y="36"/>
                    <a:pt x="276" y="68"/>
                  </a:cubicBezTo>
                  <a:cubicBezTo>
                    <a:pt x="277" y="70"/>
                    <a:pt x="279" y="72"/>
                    <a:pt x="282" y="72"/>
                  </a:cubicBezTo>
                  <a:cubicBezTo>
                    <a:pt x="284" y="72"/>
                    <a:pt x="287" y="71"/>
                    <a:pt x="288" y="70"/>
                  </a:cubicBezTo>
                  <a:cubicBezTo>
                    <a:pt x="288" y="70"/>
                    <a:pt x="289" y="69"/>
                    <a:pt x="289" y="69"/>
                  </a:cubicBezTo>
                  <a:cubicBezTo>
                    <a:pt x="290" y="68"/>
                    <a:pt x="309" y="45"/>
                    <a:pt x="344" y="45"/>
                  </a:cubicBezTo>
                  <a:cubicBezTo>
                    <a:pt x="360" y="45"/>
                    <a:pt x="375" y="50"/>
                    <a:pt x="388" y="59"/>
                  </a:cubicBezTo>
                  <a:cubicBezTo>
                    <a:pt x="392" y="61"/>
                    <a:pt x="397" y="60"/>
                    <a:pt x="399" y="56"/>
                  </a:cubicBezTo>
                  <a:cubicBezTo>
                    <a:pt x="402" y="53"/>
                    <a:pt x="401" y="48"/>
                    <a:pt x="397" y="45"/>
                  </a:cubicBezTo>
                  <a:cubicBezTo>
                    <a:pt x="381" y="35"/>
                    <a:pt x="363" y="29"/>
                    <a:pt x="344" y="29"/>
                  </a:cubicBezTo>
                  <a:cubicBezTo>
                    <a:pt x="314" y="29"/>
                    <a:pt x="294" y="43"/>
                    <a:pt x="284" y="52"/>
                  </a:cubicBezTo>
                  <a:cubicBezTo>
                    <a:pt x="258" y="19"/>
                    <a:pt x="220" y="0"/>
                    <a:pt x="178" y="0"/>
                  </a:cubicBezTo>
                  <a:cubicBezTo>
                    <a:pt x="106" y="0"/>
                    <a:pt x="47" y="58"/>
                    <a:pt x="44" y="129"/>
                  </a:cubicBezTo>
                  <a:cubicBezTo>
                    <a:pt x="17" y="145"/>
                    <a:pt x="0" y="174"/>
                    <a:pt x="0" y="206"/>
                  </a:cubicBezTo>
                  <a:cubicBezTo>
                    <a:pt x="0" y="254"/>
                    <a:pt x="39" y="293"/>
                    <a:pt x="88" y="293"/>
                  </a:cubicBezTo>
                  <a:cubicBezTo>
                    <a:pt x="378" y="293"/>
                    <a:pt x="378" y="293"/>
                    <a:pt x="378" y="293"/>
                  </a:cubicBezTo>
                  <a:cubicBezTo>
                    <a:pt x="424" y="293"/>
                    <a:pt x="462" y="256"/>
                    <a:pt x="462" y="209"/>
                  </a:cubicBezTo>
                  <a:cubicBezTo>
                    <a:pt x="462" y="186"/>
                    <a:pt x="452" y="164"/>
                    <a:pt x="435" y="1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cxnSp>
          <p:nvCxnSpPr>
            <p:cNvPr id="15421" name="Straight Connector 65"/>
            <p:cNvCxnSpPr>
              <a:cxnSpLocks noChangeShapeType="1"/>
            </p:cNvCxnSpPr>
            <p:nvPr/>
          </p:nvCxnSpPr>
          <p:spPr bwMode="auto">
            <a:xfrm flipH="1">
              <a:off x="6804609" y="5036605"/>
              <a:ext cx="137846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 type="triangle" w="med" len="sm"/>
              <a:tailEnd type="triangle" w="med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422" name="Straight Connector 65"/>
            <p:cNvCxnSpPr>
              <a:cxnSpLocks noChangeShapeType="1"/>
            </p:cNvCxnSpPr>
            <p:nvPr/>
          </p:nvCxnSpPr>
          <p:spPr bwMode="auto">
            <a:xfrm flipH="1">
              <a:off x="7332080" y="5036605"/>
              <a:ext cx="137846" cy="0"/>
            </a:xfrm>
            <a:prstGeom prst="line">
              <a:avLst/>
            </a:prstGeom>
            <a:noFill/>
            <a:ln w="28575">
              <a:solidFill>
                <a:srgbClr val="FFFFFF"/>
              </a:solidFill>
              <a:round/>
              <a:headEnd type="triangle" w="med" len="sm"/>
              <a:tailEnd type="triangle" w="med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423" name="Freeform 6"/>
            <p:cNvSpPr>
              <a:spLocks noChangeAspect="1"/>
            </p:cNvSpPr>
            <p:nvPr/>
          </p:nvSpPr>
          <p:spPr bwMode="auto">
            <a:xfrm>
              <a:off x="6266691" y="3827893"/>
              <a:ext cx="1810186" cy="1511778"/>
            </a:xfrm>
            <a:custGeom>
              <a:avLst/>
              <a:gdLst>
                <a:gd name="T0" fmla="*/ 2147483646 w 545"/>
                <a:gd name="T1" fmla="*/ 2147483646 h 455"/>
                <a:gd name="T2" fmla="*/ 0 w 545"/>
                <a:gd name="T3" fmla="*/ 2147483646 h 455"/>
                <a:gd name="T4" fmla="*/ 0 w 545"/>
                <a:gd name="T5" fmla="*/ 2147483646 h 455"/>
                <a:gd name="T6" fmla="*/ 0 w 545"/>
                <a:gd name="T7" fmla="*/ 2147483646 h 455"/>
                <a:gd name="T8" fmla="*/ 2147483646 w 545"/>
                <a:gd name="T9" fmla="*/ 0 h 455"/>
                <a:gd name="T10" fmla="*/ 2147483646 w 545"/>
                <a:gd name="T11" fmla="*/ 0 h 455"/>
                <a:gd name="T12" fmla="*/ 2147483646 w 545"/>
                <a:gd name="T13" fmla="*/ 0 h 455"/>
                <a:gd name="T14" fmla="*/ 2147483646 w 545"/>
                <a:gd name="T15" fmla="*/ 2147483646 h 455"/>
                <a:gd name="T16" fmla="*/ 2147483646 w 545"/>
                <a:gd name="T17" fmla="*/ 2147483646 h 455"/>
                <a:gd name="T18" fmla="*/ 2147483646 w 545"/>
                <a:gd name="T19" fmla="*/ 2147483646 h 455"/>
                <a:gd name="T20" fmla="*/ 2147483646 w 545"/>
                <a:gd name="T21" fmla="*/ 2147483646 h 455"/>
                <a:gd name="T22" fmla="*/ 2147483646 w 545"/>
                <a:gd name="T23" fmla="*/ 2147483646 h 455"/>
                <a:gd name="T24" fmla="*/ 2147483646 w 545"/>
                <a:gd name="T25" fmla="*/ 2147483646 h 455"/>
                <a:gd name="T26" fmla="*/ 2147483646 w 545"/>
                <a:gd name="T27" fmla="*/ 2147483646 h 455"/>
                <a:gd name="T28" fmla="*/ 2147483646 w 545"/>
                <a:gd name="T29" fmla="*/ 2147483646 h 455"/>
                <a:gd name="T30" fmla="*/ 2147483646 w 545"/>
                <a:gd name="T31" fmla="*/ 2147483646 h 455"/>
                <a:gd name="T32" fmla="*/ 2147483646 w 545"/>
                <a:gd name="T33" fmla="*/ 2147483646 h 455"/>
                <a:gd name="T34" fmla="*/ 2147483646 w 545"/>
                <a:gd name="T35" fmla="*/ 2147483646 h 455"/>
                <a:gd name="T36" fmla="*/ 2147483646 w 545"/>
                <a:gd name="T37" fmla="*/ 2147483646 h 455"/>
                <a:gd name="T38" fmla="*/ 2147483646 w 545"/>
                <a:gd name="T39" fmla="*/ 2147483646 h 455"/>
                <a:gd name="T40" fmla="*/ 2147483646 w 545"/>
                <a:gd name="T41" fmla="*/ 2147483646 h 455"/>
                <a:gd name="T42" fmla="*/ 2147483646 w 545"/>
                <a:gd name="T43" fmla="*/ 2147483646 h 455"/>
                <a:gd name="T44" fmla="*/ 2147483646 w 545"/>
                <a:gd name="T45" fmla="*/ 2147483646 h 455"/>
                <a:gd name="T46" fmla="*/ 2147483646 w 545"/>
                <a:gd name="T47" fmla="*/ 2147483646 h 455"/>
                <a:gd name="T48" fmla="*/ 2147483646 w 545"/>
                <a:gd name="T49" fmla="*/ 2147483646 h 455"/>
                <a:gd name="T50" fmla="*/ 2147483646 w 545"/>
                <a:gd name="T51" fmla="*/ 2147483646 h 455"/>
                <a:gd name="T52" fmla="*/ 2147483646 w 545"/>
                <a:gd name="T53" fmla="*/ 2147483646 h 455"/>
                <a:gd name="T54" fmla="*/ 2147483646 w 545"/>
                <a:gd name="T55" fmla="*/ 2147483646 h 455"/>
                <a:gd name="T56" fmla="*/ 2147483646 w 545"/>
                <a:gd name="T57" fmla="*/ 2147483646 h 455"/>
                <a:gd name="T58" fmla="*/ 2147483646 w 545"/>
                <a:gd name="T59" fmla="*/ 2147483646 h 455"/>
                <a:gd name="T60" fmla="*/ 2147483646 w 545"/>
                <a:gd name="T61" fmla="*/ 2147483646 h 455"/>
                <a:gd name="T62" fmla="*/ 2147483646 w 545"/>
                <a:gd name="T63" fmla="*/ 2147483646 h 455"/>
                <a:gd name="T64" fmla="*/ 2147483646 w 545"/>
                <a:gd name="T65" fmla="*/ 2147483646 h 455"/>
                <a:gd name="T66" fmla="*/ 2147483646 w 545"/>
                <a:gd name="T67" fmla="*/ 2147483646 h 455"/>
                <a:gd name="T68" fmla="*/ 2147483646 w 545"/>
                <a:gd name="T69" fmla="*/ 2147483646 h 45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45"/>
                <a:gd name="T106" fmla="*/ 0 h 455"/>
                <a:gd name="T107" fmla="*/ 545 w 545"/>
                <a:gd name="T108" fmla="*/ 455 h 45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45" h="455">
                  <a:moveTo>
                    <a:pt x="31" y="455"/>
                  </a:moveTo>
                  <a:cubicBezTo>
                    <a:pt x="14" y="455"/>
                    <a:pt x="0" y="441"/>
                    <a:pt x="0" y="424"/>
                  </a:cubicBezTo>
                  <a:cubicBezTo>
                    <a:pt x="0" y="424"/>
                    <a:pt x="0" y="424"/>
                    <a:pt x="0" y="4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3"/>
                    <a:pt x="14" y="0"/>
                    <a:pt x="31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515" y="0"/>
                    <a:pt x="515" y="0"/>
                    <a:pt x="515" y="0"/>
                  </a:cubicBezTo>
                  <a:cubicBezTo>
                    <a:pt x="532" y="0"/>
                    <a:pt x="545" y="13"/>
                    <a:pt x="545" y="30"/>
                  </a:cubicBezTo>
                  <a:cubicBezTo>
                    <a:pt x="545" y="30"/>
                    <a:pt x="545" y="30"/>
                    <a:pt x="545" y="30"/>
                  </a:cubicBezTo>
                  <a:cubicBezTo>
                    <a:pt x="545" y="52"/>
                    <a:pt x="545" y="52"/>
                    <a:pt x="545" y="52"/>
                  </a:cubicBezTo>
                  <a:cubicBezTo>
                    <a:pt x="545" y="57"/>
                    <a:pt x="542" y="60"/>
                    <a:pt x="537" y="60"/>
                  </a:cubicBezTo>
                  <a:cubicBezTo>
                    <a:pt x="537" y="60"/>
                    <a:pt x="537" y="60"/>
                    <a:pt x="537" y="60"/>
                  </a:cubicBezTo>
                  <a:cubicBezTo>
                    <a:pt x="533" y="60"/>
                    <a:pt x="529" y="57"/>
                    <a:pt x="529" y="52"/>
                  </a:cubicBezTo>
                  <a:cubicBezTo>
                    <a:pt x="529" y="52"/>
                    <a:pt x="529" y="52"/>
                    <a:pt x="529" y="52"/>
                  </a:cubicBezTo>
                  <a:cubicBezTo>
                    <a:pt x="529" y="30"/>
                    <a:pt x="529" y="30"/>
                    <a:pt x="529" y="30"/>
                  </a:cubicBezTo>
                  <a:cubicBezTo>
                    <a:pt x="529" y="22"/>
                    <a:pt x="523" y="16"/>
                    <a:pt x="515" y="16"/>
                  </a:cubicBezTo>
                  <a:cubicBezTo>
                    <a:pt x="515" y="16"/>
                    <a:pt x="515" y="16"/>
                    <a:pt x="515" y="16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23" y="16"/>
                    <a:pt x="16" y="22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424"/>
                    <a:pt x="16" y="424"/>
                    <a:pt x="16" y="424"/>
                  </a:cubicBezTo>
                  <a:cubicBezTo>
                    <a:pt x="16" y="432"/>
                    <a:pt x="23" y="439"/>
                    <a:pt x="31" y="439"/>
                  </a:cubicBezTo>
                  <a:cubicBezTo>
                    <a:pt x="31" y="439"/>
                    <a:pt x="31" y="439"/>
                    <a:pt x="31" y="439"/>
                  </a:cubicBezTo>
                  <a:cubicBezTo>
                    <a:pt x="515" y="439"/>
                    <a:pt x="515" y="439"/>
                    <a:pt x="515" y="439"/>
                  </a:cubicBezTo>
                  <a:cubicBezTo>
                    <a:pt x="523" y="439"/>
                    <a:pt x="529" y="432"/>
                    <a:pt x="529" y="424"/>
                  </a:cubicBezTo>
                  <a:cubicBezTo>
                    <a:pt x="529" y="424"/>
                    <a:pt x="529" y="424"/>
                    <a:pt x="529" y="424"/>
                  </a:cubicBezTo>
                  <a:cubicBezTo>
                    <a:pt x="529" y="82"/>
                    <a:pt x="529" y="82"/>
                    <a:pt x="529" y="82"/>
                  </a:cubicBezTo>
                  <a:cubicBezTo>
                    <a:pt x="529" y="77"/>
                    <a:pt x="533" y="74"/>
                    <a:pt x="537" y="74"/>
                  </a:cubicBezTo>
                  <a:cubicBezTo>
                    <a:pt x="537" y="74"/>
                    <a:pt x="537" y="74"/>
                    <a:pt x="537" y="74"/>
                  </a:cubicBezTo>
                  <a:cubicBezTo>
                    <a:pt x="542" y="74"/>
                    <a:pt x="545" y="77"/>
                    <a:pt x="545" y="82"/>
                  </a:cubicBezTo>
                  <a:cubicBezTo>
                    <a:pt x="545" y="82"/>
                    <a:pt x="545" y="82"/>
                    <a:pt x="545" y="82"/>
                  </a:cubicBezTo>
                  <a:cubicBezTo>
                    <a:pt x="545" y="424"/>
                    <a:pt x="545" y="424"/>
                    <a:pt x="545" y="424"/>
                  </a:cubicBezTo>
                  <a:cubicBezTo>
                    <a:pt x="545" y="441"/>
                    <a:pt x="532" y="455"/>
                    <a:pt x="515" y="455"/>
                  </a:cubicBezTo>
                  <a:cubicBezTo>
                    <a:pt x="515" y="455"/>
                    <a:pt x="515" y="455"/>
                    <a:pt x="515" y="455"/>
                  </a:cubicBezTo>
                  <a:cubicBezTo>
                    <a:pt x="31" y="455"/>
                    <a:pt x="31" y="455"/>
                    <a:pt x="31" y="45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126000" tIns="82800" rIns="126000"/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Distributed Cloud</a:t>
              </a:r>
              <a:br>
                <a: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kumimoji="0" lang="en-US" alt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ORE &amp; RAN</a:t>
              </a:r>
            </a:p>
          </p:txBody>
        </p:sp>
        <p:sp>
          <p:nvSpPr>
            <p:cNvPr id="15424" name="Freeform 61"/>
            <p:cNvSpPr>
              <a:spLocks noChangeAspect="1" noEditPoints="1"/>
            </p:cNvSpPr>
            <p:nvPr/>
          </p:nvSpPr>
          <p:spPr bwMode="auto">
            <a:xfrm>
              <a:off x="7743825" y="4826908"/>
              <a:ext cx="195263" cy="314325"/>
            </a:xfrm>
            <a:custGeom>
              <a:avLst/>
              <a:gdLst>
                <a:gd name="T0" fmla="*/ 2147483646 w 255"/>
                <a:gd name="T1" fmla="*/ 2147483646 h 412"/>
                <a:gd name="T2" fmla="*/ 2147483646 w 255"/>
                <a:gd name="T3" fmla="*/ 2147483646 h 412"/>
                <a:gd name="T4" fmla="*/ 2147483646 w 255"/>
                <a:gd name="T5" fmla="*/ 2147483646 h 412"/>
                <a:gd name="T6" fmla="*/ 2147483646 w 255"/>
                <a:gd name="T7" fmla="*/ 2147483646 h 412"/>
                <a:gd name="T8" fmla="*/ 2147483646 w 255"/>
                <a:gd name="T9" fmla="*/ 2147483646 h 412"/>
                <a:gd name="T10" fmla="*/ 2147483646 w 255"/>
                <a:gd name="T11" fmla="*/ 2147483646 h 412"/>
                <a:gd name="T12" fmla="*/ 2147483646 w 255"/>
                <a:gd name="T13" fmla="*/ 2147483646 h 412"/>
                <a:gd name="T14" fmla="*/ 2147483646 w 255"/>
                <a:gd name="T15" fmla="*/ 2147483646 h 412"/>
                <a:gd name="T16" fmla="*/ 2147483646 w 255"/>
                <a:gd name="T17" fmla="*/ 2147483646 h 412"/>
                <a:gd name="T18" fmla="*/ 2147483646 w 255"/>
                <a:gd name="T19" fmla="*/ 2147483646 h 412"/>
                <a:gd name="T20" fmla="*/ 2147483646 w 255"/>
                <a:gd name="T21" fmla="*/ 2147483646 h 412"/>
                <a:gd name="T22" fmla="*/ 2147483646 w 255"/>
                <a:gd name="T23" fmla="*/ 2147483646 h 412"/>
                <a:gd name="T24" fmla="*/ 2147483646 w 255"/>
                <a:gd name="T25" fmla="*/ 2147483646 h 412"/>
                <a:gd name="T26" fmla="*/ 2147483646 w 255"/>
                <a:gd name="T27" fmla="*/ 2147483646 h 412"/>
                <a:gd name="T28" fmla="*/ 2147483646 w 255"/>
                <a:gd name="T29" fmla="*/ 2147483646 h 412"/>
                <a:gd name="T30" fmla="*/ 2147483646 w 255"/>
                <a:gd name="T31" fmla="*/ 2147483646 h 412"/>
                <a:gd name="T32" fmla="*/ 2147483646 w 255"/>
                <a:gd name="T33" fmla="*/ 2147483646 h 412"/>
                <a:gd name="T34" fmla="*/ 2147483646 w 255"/>
                <a:gd name="T35" fmla="*/ 2147483646 h 412"/>
                <a:gd name="T36" fmla="*/ 2147483646 w 255"/>
                <a:gd name="T37" fmla="*/ 2147483646 h 412"/>
                <a:gd name="T38" fmla="*/ 2147483646 w 255"/>
                <a:gd name="T39" fmla="*/ 2147483646 h 412"/>
                <a:gd name="T40" fmla="*/ 2147483646 w 255"/>
                <a:gd name="T41" fmla="*/ 2147483646 h 412"/>
                <a:gd name="T42" fmla="*/ 2147483646 w 255"/>
                <a:gd name="T43" fmla="*/ 2147483646 h 412"/>
                <a:gd name="T44" fmla="*/ 2147483646 w 255"/>
                <a:gd name="T45" fmla="*/ 2147483646 h 412"/>
                <a:gd name="T46" fmla="*/ 2147483646 w 255"/>
                <a:gd name="T47" fmla="*/ 2147483646 h 412"/>
                <a:gd name="T48" fmla="*/ 2147483646 w 255"/>
                <a:gd name="T49" fmla="*/ 2147483646 h 412"/>
                <a:gd name="T50" fmla="*/ 2147483646 w 255"/>
                <a:gd name="T51" fmla="*/ 2147483646 h 412"/>
                <a:gd name="T52" fmla="*/ 2147483646 w 255"/>
                <a:gd name="T53" fmla="*/ 2147483646 h 412"/>
                <a:gd name="T54" fmla="*/ 2147483646 w 255"/>
                <a:gd name="T55" fmla="*/ 2147483646 h 412"/>
                <a:gd name="T56" fmla="*/ 2147483646 w 255"/>
                <a:gd name="T57" fmla="*/ 2147483646 h 412"/>
                <a:gd name="T58" fmla="*/ 2147483646 w 255"/>
                <a:gd name="T59" fmla="*/ 2147483646 h 412"/>
                <a:gd name="T60" fmla="*/ 2147483646 w 255"/>
                <a:gd name="T61" fmla="*/ 2147483646 h 412"/>
                <a:gd name="T62" fmla="*/ 2147483646 w 255"/>
                <a:gd name="T63" fmla="*/ 2147483646 h 412"/>
                <a:gd name="T64" fmla="*/ 2147483646 w 255"/>
                <a:gd name="T65" fmla="*/ 2147483646 h 412"/>
                <a:gd name="T66" fmla="*/ 2147483646 w 255"/>
                <a:gd name="T67" fmla="*/ 2147483646 h 412"/>
                <a:gd name="T68" fmla="*/ 2147483646 w 255"/>
                <a:gd name="T69" fmla="*/ 2147483646 h 412"/>
                <a:gd name="T70" fmla="*/ 2147483646 w 255"/>
                <a:gd name="T71" fmla="*/ 2147483646 h 412"/>
                <a:gd name="T72" fmla="*/ 2147483646 w 255"/>
                <a:gd name="T73" fmla="*/ 2147483646 h 412"/>
                <a:gd name="T74" fmla="*/ 2147483646 w 255"/>
                <a:gd name="T75" fmla="*/ 2147483646 h 412"/>
                <a:gd name="T76" fmla="*/ 2147483646 w 255"/>
                <a:gd name="T77" fmla="*/ 2147483646 h 412"/>
                <a:gd name="T78" fmla="*/ 2147483646 w 255"/>
                <a:gd name="T79" fmla="*/ 2147483646 h 412"/>
                <a:gd name="T80" fmla="*/ 2147483646 w 255"/>
                <a:gd name="T81" fmla="*/ 2147483646 h 412"/>
                <a:gd name="T82" fmla="*/ 2147483646 w 255"/>
                <a:gd name="T83" fmla="*/ 2147483646 h 412"/>
                <a:gd name="T84" fmla="*/ 2147483646 w 255"/>
                <a:gd name="T85" fmla="*/ 2147483646 h 412"/>
                <a:gd name="T86" fmla="*/ 2147483646 w 255"/>
                <a:gd name="T87" fmla="*/ 2147483646 h 412"/>
                <a:gd name="T88" fmla="*/ 2147483646 w 255"/>
                <a:gd name="T89" fmla="*/ 2147483646 h 412"/>
                <a:gd name="T90" fmla="*/ 2147483646 w 255"/>
                <a:gd name="T91" fmla="*/ 2147483646 h 412"/>
                <a:gd name="T92" fmla="*/ 2147483646 w 255"/>
                <a:gd name="T93" fmla="*/ 2147483646 h 412"/>
                <a:gd name="T94" fmla="*/ 2147483646 w 255"/>
                <a:gd name="T95" fmla="*/ 2147483646 h 412"/>
                <a:gd name="T96" fmla="*/ 2147483646 w 255"/>
                <a:gd name="T97" fmla="*/ 2147483646 h 412"/>
                <a:gd name="T98" fmla="*/ 2147483646 w 255"/>
                <a:gd name="T99" fmla="*/ 2147483646 h 412"/>
                <a:gd name="T100" fmla="*/ 0 w 255"/>
                <a:gd name="T101" fmla="*/ 2147483646 h 412"/>
                <a:gd name="T102" fmla="*/ 2147483646 w 255"/>
                <a:gd name="T103" fmla="*/ 2147483646 h 412"/>
                <a:gd name="T104" fmla="*/ 2147483646 w 255"/>
                <a:gd name="T105" fmla="*/ 2147483646 h 412"/>
                <a:gd name="T106" fmla="*/ 2147483646 w 255"/>
                <a:gd name="T107" fmla="*/ 2147483646 h 412"/>
                <a:gd name="T108" fmla="*/ 2147483646 w 255"/>
                <a:gd name="T109" fmla="*/ 2147483646 h 412"/>
                <a:gd name="T110" fmla="*/ 2147483646 w 255"/>
                <a:gd name="T111" fmla="*/ 2147483646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25" name="Freeform 61"/>
            <p:cNvSpPr>
              <a:spLocks noChangeAspect="1" noEditPoints="1"/>
            </p:cNvSpPr>
            <p:nvPr/>
          </p:nvSpPr>
          <p:spPr bwMode="auto">
            <a:xfrm>
              <a:off x="7507288" y="4826908"/>
              <a:ext cx="195262" cy="314325"/>
            </a:xfrm>
            <a:custGeom>
              <a:avLst/>
              <a:gdLst>
                <a:gd name="T0" fmla="*/ 2147483646 w 255"/>
                <a:gd name="T1" fmla="*/ 2147483646 h 412"/>
                <a:gd name="T2" fmla="*/ 2147483646 w 255"/>
                <a:gd name="T3" fmla="*/ 2147483646 h 412"/>
                <a:gd name="T4" fmla="*/ 2147483646 w 255"/>
                <a:gd name="T5" fmla="*/ 2147483646 h 412"/>
                <a:gd name="T6" fmla="*/ 2147483646 w 255"/>
                <a:gd name="T7" fmla="*/ 2147483646 h 412"/>
                <a:gd name="T8" fmla="*/ 2147483646 w 255"/>
                <a:gd name="T9" fmla="*/ 2147483646 h 412"/>
                <a:gd name="T10" fmla="*/ 2147483646 w 255"/>
                <a:gd name="T11" fmla="*/ 2147483646 h 412"/>
                <a:gd name="T12" fmla="*/ 2147483646 w 255"/>
                <a:gd name="T13" fmla="*/ 2147483646 h 412"/>
                <a:gd name="T14" fmla="*/ 2147483646 w 255"/>
                <a:gd name="T15" fmla="*/ 2147483646 h 412"/>
                <a:gd name="T16" fmla="*/ 2147483646 w 255"/>
                <a:gd name="T17" fmla="*/ 2147483646 h 412"/>
                <a:gd name="T18" fmla="*/ 2147483646 w 255"/>
                <a:gd name="T19" fmla="*/ 2147483646 h 412"/>
                <a:gd name="T20" fmla="*/ 2147483646 w 255"/>
                <a:gd name="T21" fmla="*/ 2147483646 h 412"/>
                <a:gd name="T22" fmla="*/ 2147483646 w 255"/>
                <a:gd name="T23" fmla="*/ 2147483646 h 412"/>
                <a:gd name="T24" fmla="*/ 2147483646 w 255"/>
                <a:gd name="T25" fmla="*/ 2147483646 h 412"/>
                <a:gd name="T26" fmla="*/ 2147483646 w 255"/>
                <a:gd name="T27" fmla="*/ 2147483646 h 412"/>
                <a:gd name="T28" fmla="*/ 2147483646 w 255"/>
                <a:gd name="T29" fmla="*/ 2147483646 h 412"/>
                <a:gd name="T30" fmla="*/ 2147483646 w 255"/>
                <a:gd name="T31" fmla="*/ 2147483646 h 412"/>
                <a:gd name="T32" fmla="*/ 2147483646 w 255"/>
                <a:gd name="T33" fmla="*/ 2147483646 h 412"/>
                <a:gd name="T34" fmla="*/ 2147483646 w 255"/>
                <a:gd name="T35" fmla="*/ 2147483646 h 412"/>
                <a:gd name="T36" fmla="*/ 2147483646 w 255"/>
                <a:gd name="T37" fmla="*/ 2147483646 h 412"/>
                <a:gd name="T38" fmla="*/ 2147483646 w 255"/>
                <a:gd name="T39" fmla="*/ 2147483646 h 412"/>
                <a:gd name="T40" fmla="*/ 2147483646 w 255"/>
                <a:gd name="T41" fmla="*/ 2147483646 h 412"/>
                <a:gd name="T42" fmla="*/ 2147483646 w 255"/>
                <a:gd name="T43" fmla="*/ 2147483646 h 412"/>
                <a:gd name="T44" fmla="*/ 2147483646 w 255"/>
                <a:gd name="T45" fmla="*/ 2147483646 h 412"/>
                <a:gd name="T46" fmla="*/ 2147483646 w 255"/>
                <a:gd name="T47" fmla="*/ 2147483646 h 412"/>
                <a:gd name="T48" fmla="*/ 2147483646 w 255"/>
                <a:gd name="T49" fmla="*/ 2147483646 h 412"/>
                <a:gd name="T50" fmla="*/ 2147483646 w 255"/>
                <a:gd name="T51" fmla="*/ 2147483646 h 412"/>
                <a:gd name="T52" fmla="*/ 2147483646 w 255"/>
                <a:gd name="T53" fmla="*/ 2147483646 h 412"/>
                <a:gd name="T54" fmla="*/ 2147483646 w 255"/>
                <a:gd name="T55" fmla="*/ 2147483646 h 412"/>
                <a:gd name="T56" fmla="*/ 2147483646 w 255"/>
                <a:gd name="T57" fmla="*/ 2147483646 h 412"/>
                <a:gd name="T58" fmla="*/ 2147483646 w 255"/>
                <a:gd name="T59" fmla="*/ 2147483646 h 412"/>
                <a:gd name="T60" fmla="*/ 2147483646 w 255"/>
                <a:gd name="T61" fmla="*/ 2147483646 h 412"/>
                <a:gd name="T62" fmla="*/ 2147483646 w 255"/>
                <a:gd name="T63" fmla="*/ 2147483646 h 412"/>
                <a:gd name="T64" fmla="*/ 2147483646 w 255"/>
                <a:gd name="T65" fmla="*/ 2147483646 h 412"/>
                <a:gd name="T66" fmla="*/ 2147483646 w 255"/>
                <a:gd name="T67" fmla="*/ 2147483646 h 412"/>
                <a:gd name="T68" fmla="*/ 2147483646 w 255"/>
                <a:gd name="T69" fmla="*/ 2147483646 h 412"/>
                <a:gd name="T70" fmla="*/ 2147483646 w 255"/>
                <a:gd name="T71" fmla="*/ 2147483646 h 412"/>
                <a:gd name="T72" fmla="*/ 2147483646 w 255"/>
                <a:gd name="T73" fmla="*/ 2147483646 h 412"/>
                <a:gd name="T74" fmla="*/ 2147483646 w 255"/>
                <a:gd name="T75" fmla="*/ 2147483646 h 412"/>
                <a:gd name="T76" fmla="*/ 2147483646 w 255"/>
                <a:gd name="T77" fmla="*/ 2147483646 h 412"/>
                <a:gd name="T78" fmla="*/ 2147483646 w 255"/>
                <a:gd name="T79" fmla="*/ 2147483646 h 412"/>
                <a:gd name="T80" fmla="*/ 2147483646 w 255"/>
                <a:gd name="T81" fmla="*/ 2147483646 h 412"/>
                <a:gd name="T82" fmla="*/ 2147483646 w 255"/>
                <a:gd name="T83" fmla="*/ 2147483646 h 412"/>
                <a:gd name="T84" fmla="*/ 2147483646 w 255"/>
                <a:gd name="T85" fmla="*/ 2147483646 h 412"/>
                <a:gd name="T86" fmla="*/ 2147483646 w 255"/>
                <a:gd name="T87" fmla="*/ 2147483646 h 412"/>
                <a:gd name="T88" fmla="*/ 2147483646 w 255"/>
                <a:gd name="T89" fmla="*/ 2147483646 h 412"/>
                <a:gd name="T90" fmla="*/ 2147483646 w 255"/>
                <a:gd name="T91" fmla="*/ 2147483646 h 412"/>
                <a:gd name="T92" fmla="*/ 2147483646 w 255"/>
                <a:gd name="T93" fmla="*/ 2147483646 h 412"/>
                <a:gd name="T94" fmla="*/ 2147483646 w 255"/>
                <a:gd name="T95" fmla="*/ 2147483646 h 412"/>
                <a:gd name="T96" fmla="*/ 2147483646 w 255"/>
                <a:gd name="T97" fmla="*/ 2147483646 h 412"/>
                <a:gd name="T98" fmla="*/ 2147483646 w 255"/>
                <a:gd name="T99" fmla="*/ 2147483646 h 412"/>
                <a:gd name="T100" fmla="*/ 0 w 255"/>
                <a:gd name="T101" fmla="*/ 2147483646 h 412"/>
                <a:gd name="T102" fmla="*/ 2147483646 w 255"/>
                <a:gd name="T103" fmla="*/ 2147483646 h 412"/>
                <a:gd name="T104" fmla="*/ 2147483646 w 255"/>
                <a:gd name="T105" fmla="*/ 2147483646 h 412"/>
                <a:gd name="T106" fmla="*/ 2147483646 w 255"/>
                <a:gd name="T107" fmla="*/ 2147483646 h 412"/>
                <a:gd name="T108" fmla="*/ 2147483646 w 255"/>
                <a:gd name="T109" fmla="*/ 2147483646 h 412"/>
                <a:gd name="T110" fmla="*/ 2147483646 w 255"/>
                <a:gd name="T111" fmla="*/ 2147483646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26" name="Freeform 61"/>
            <p:cNvSpPr>
              <a:spLocks noChangeAspect="1" noEditPoints="1"/>
            </p:cNvSpPr>
            <p:nvPr/>
          </p:nvSpPr>
          <p:spPr bwMode="auto">
            <a:xfrm>
              <a:off x="7743825" y="4482421"/>
              <a:ext cx="195263" cy="314325"/>
            </a:xfrm>
            <a:custGeom>
              <a:avLst/>
              <a:gdLst>
                <a:gd name="T0" fmla="*/ 2147483646 w 255"/>
                <a:gd name="T1" fmla="*/ 2147483646 h 412"/>
                <a:gd name="T2" fmla="*/ 2147483646 w 255"/>
                <a:gd name="T3" fmla="*/ 2147483646 h 412"/>
                <a:gd name="T4" fmla="*/ 2147483646 w 255"/>
                <a:gd name="T5" fmla="*/ 2147483646 h 412"/>
                <a:gd name="T6" fmla="*/ 2147483646 w 255"/>
                <a:gd name="T7" fmla="*/ 2147483646 h 412"/>
                <a:gd name="T8" fmla="*/ 2147483646 w 255"/>
                <a:gd name="T9" fmla="*/ 2147483646 h 412"/>
                <a:gd name="T10" fmla="*/ 2147483646 w 255"/>
                <a:gd name="T11" fmla="*/ 2147483646 h 412"/>
                <a:gd name="T12" fmla="*/ 2147483646 w 255"/>
                <a:gd name="T13" fmla="*/ 2147483646 h 412"/>
                <a:gd name="T14" fmla="*/ 2147483646 w 255"/>
                <a:gd name="T15" fmla="*/ 2147483646 h 412"/>
                <a:gd name="T16" fmla="*/ 2147483646 w 255"/>
                <a:gd name="T17" fmla="*/ 2147483646 h 412"/>
                <a:gd name="T18" fmla="*/ 2147483646 w 255"/>
                <a:gd name="T19" fmla="*/ 2147483646 h 412"/>
                <a:gd name="T20" fmla="*/ 2147483646 w 255"/>
                <a:gd name="T21" fmla="*/ 2147483646 h 412"/>
                <a:gd name="T22" fmla="*/ 2147483646 w 255"/>
                <a:gd name="T23" fmla="*/ 2147483646 h 412"/>
                <a:gd name="T24" fmla="*/ 2147483646 w 255"/>
                <a:gd name="T25" fmla="*/ 2147483646 h 412"/>
                <a:gd name="T26" fmla="*/ 2147483646 w 255"/>
                <a:gd name="T27" fmla="*/ 2147483646 h 412"/>
                <a:gd name="T28" fmla="*/ 2147483646 w 255"/>
                <a:gd name="T29" fmla="*/ 2147483646 h 412"/>
                <a:gd name="T30" fmla="*/ 2147483646 w 255"/>
                <a:gd name="T31" fmla="*/ 2147483646 h 412"/>
                <a:gd name="T32" fmla="*/ 2147483646 w 255"/>
                <a:gd name="T33" fmla="*/ 2147483646 h 412"/>
                <a:gd name="T34" fmla="*/ 2147483646 w 255"/>
                <a:gd name="T35" fmla="*/ 2147483646 h 412"/>
                <a:gd name="T36" fmla="*/ 2147483646 w 255"/>
                <a:gd name="T37" fmla="*/ 2147483646 h 412"/>
                <a:gd name="T38" fmla="*/ 2147483646 w 255"/>
                <a:gd name="T39" fmla="*/ 2147483646 h 412"/>
                <a:gd name="T40" fmla="*/ 2147483646 w 255"/>
                <a:gd name="T41" fmla="*/ 2147483646 h 412"/>
                <a:gd name="T42" fmla="*/ 2147483646 w 255"/>
                <a:gd name="T43" fmla="*/ 2147483646 h 412"/>
                <a:gd name="T44" fmla="*/ 2147483646 w 255"/>
                <a:gd name="T45" fmla="*/ 2147483646 h 412"/>
                <a:gd name="T46" fmla="*/ 2147483646 w 255"/>
                <a:gd name="T47" fmla="*/ 2147483646 h 412"/>
                <a:gd name="T48" fmla="*/ 2147483646 w 255"/>
                <a:gd name="T49" fmla="*/ 2147483646 h 412"/>
                <a:gd name="T50" fmla="*/ 2147483646 w 255"/>
                <a:gd name="T51" fmla="*/ 2147483646 h 412"/>
                <a:gd name="T52" fmla="*/ 2147483646 w 255"/>
                <a:gd name="T53" fmla="*/ 2147483646 h 412"/>
                <a:gd name="T54" fmla="*/ 2147483646 w 255"/>
                <a:gd name="T55" fmla="*/ 2147483646 h 412"/>
                <a:gd name="T56" fmla="*/ 2147483646 w 255"/>
                <a:gd name="T57" fmla="*/ 2147483646 h 412"/>
                <a:gd name="T58" fmla="*/ 2147483646 w 255"/>
                <a:gd name="T59" fmla="*/ 2147483646 h 412"/>
                <a:gd name="T60" fmla="*/ 2147483646 w 255"/>
                <a:gd name="T61" fmla="*/ 2147483646 h 412"/>
                <a:gd name="T62" fmla="*/ 2147483646 w 255"/>
                <a:gd name="T63" fmla="*/ 2147483646 h 412"/>
                <a:gd name="T64" fmla="*/ 2147483646 w 255"/>
                <a:gd name="T65" fmla="*/ 2147483646 h 412"/>
                <a:gd name="T66" fmla="*/ 2147483646 w 255"/>
                <a:gd name="T67" fmla="*/ 2147483646 h 412"/>
                <a:gd name="T68" fmla="*/ 2147483646 w 255"/>
                <a:gd name="T69" fmla="*/ 2147483646 h 412"/>
                <a:gd name="T70" fmla="*/ 2147483646 w 255"/>
                <a:gd name="T71" fmla="*/ 2147483646 h 412"/>
                <a:gd name="T72" fmla="*/ 2147483646 w 255"/>
                <a:gd name="T73" fmla="*/ 2147483646 h 412"/>
                <a:gd name="T74" fmla="*/ 2147483646 w 255"/>
                <a:gd name="T75" fmla="*/ 2147483646 h 412"/>
                <a:gd name="T76" fmla="*/ 2147483646 w 255"/>
                <a:gd name="T77" fmla="*/ 2147483646 h 412"/>
                <a:gd name="T78" fmla="*/ 2147483646 w 255"/>
                <a:gd name="T79" fmla="*/ 2147483646 h 412"/>
                <a:gd name="T80" fmla="*/ 2147483646 w 255"/>
                <a:gd name="T81" fmla="*/ 2147483646 h 412"/>
                <a:gd name="T82" fmla="*/ 2147483646 w 255"/>
                <a:gd name="T83" fmla="*/ 2147483646 h 412"/>
                <a:gd name="T84" fmla="*/ 2147483646 w 255"/>
                <a:gd name="T85" fmla="*/ 2147483646 h 412"/>
                <a:gd name="T86" fmla="*/ 2147483646 w 255"/>
                <a:gd name="T87" fmla="*/ 2147483646 h 412"/>
                <a:gd name="T88" fmla="*/ 2147483646 w 255"/>
                <a:gd name="T89" fmla="*/ 2147483646 h 412"/>
                <a:gd name="T90" fmla="*/ 2147483646 w 255"/>
                <a:gd name="T91" fmla="*/ 2147483646 h 412"/>
                <a:gd name="T92" fmla="*/ 2147483646 w 255"/>
                <a:gd name="T93" fmla="*/ 2147483646 h 412"/>
                <a:gd name="T94" fmla="*/ 2147483646 w 255"/>
                <a:gd name="T95" fmla="*/ 2147483646 h 412"/>
                <a:gd name="T96" fmla="*/ 2147483646 w 255"/>
                <a:gd name="T97" fmla="*/ 2147483646 h 412"/>
                <a:gd name="T98" fmla="*/ 2147483646 w 255"/>
                <a:gd name="T99" fmla="*/ 2147483646 h 412"/>
                <a:gd name="T100" fmla="*/ 0 w 255"/>
                <a:gd name="T101" fmla="*/ 2147483646 h 412"/>
                <a:gd name="T102" fmla="*/ 2147483646 w 255"/>
                <a:gd name="T103" fmla="*/ 2147483646 h 412"/>
                <a:gd name="T104" fmla="*/ 2147483646 w 255"/>
                <a:gd name="T105" fmla="*/ 2147483646 h 412"/>
                <a:gd name="T106" fmla="*/ 2147483646 w 255"/>
                <a:gd name="T107" fmla="*/ 2147483646 h 412"/>
                <a:gd name="T108" fmla="*/ 2147483646 w 255"/>
                <a:gd name="T109" fmla="*/ 2147483646 h 412"/>
                <a:gd name="T110" fmla="*/ 2147483646 w 255"/>
                <a:gd name="T111" fmla="*/ 2147483646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427" name="Freeform 61"/>
            <p:cNvSpPr>
              <a:spLocks noChangeAspect="1" noEditPoints="1"/>
            </p:cNvSpPr>
            <p:nvPr/>
          </p:nvSpPr>
          <p:spPr bwMode="auto">
            <a:xfrm>
              <a:off x="7507288" y="4482421"/>
              <a:ext cx="195262" cy="314325"/>
            </a:xfrm>
            <a:custGeom>
              <a:avLst/>
              <a:gdLst>
                <a:gd name="T0" fmla="*/ 2147483646 w 255"/>
                <a:gd name="T1" fmla="*/ 2147483646 h 412"/>
                <a:gd name="T2" fmla="*/ 2147483646 w 255"/>
                <a:gd name="T3" fmla="*/ 2147483646 h 412"/>
                <a:gd name="T4" fmla="*/ 2147483646 w 255"/>
                <a:gd name="T5" fmla="*/ 2147483646 h 412"/>
                <a:gd name="T6" fmla="*/ 2147483646 w 255"/>
                <a:gd name="T7" fmla="*/ 2147483646 h 412"/>
                <a:gd name="T8" fmla="*/ 2147483646 w 255"/>
                <a:gd name="T9" fmla="*/ 2147483646 h 412"/>
                <a:gd name="T10" fmla="*/ 2147483646 w 255"/>
                <a:gd name="T11" fmla="*/ 2147483646 h 412"/>
                <a:gd name="T12" fmla="*/ 2147483646 w 255"/>
                <a:gd name="T13" fmla="*/ 2147483646 h 412"/>
                <a:gd name="T14" fmla="*/ 2147483646 w 255"/>
                <a:gd name="T15" fmla="*/ 2147483646 h 412"/>
                <a:gd name="T16" fmla="*/ 2147483646 w 255"/>
                <a:gd name="T17" fmla="*/ 2147483646 h 412"/>
                <a:gd name="T18" fmla="*/ 2147483646 w 255"/>
                <a:gd name="T19" fmla="*/ 2147483646 h 412"/>
                <a:gd name="T20" fmla="*/ 2147483646 w 255"/>
                <a:gd name="T21" fmla="*/ 2147483646 h 412"/>
                <a:gd name="T22" fmla="*/ 2147483646 w 255"/>
                <a:gd name="T23" fmla="*/ 2147483646 h 412"/>
                <a:gd name="T24" fmla="*/ 2147483646 w 255"/>
                <a:gd name="T25" fmla="*/ 2147483646 h 412"/>
                <a:gd name="T26" fmla="*/ 2147483646 w 255"/>
                <a:gd name="T27" fmla="*/ 2147483646 h 412"/>
                <a:gd name="T28" fmla="*/ 2147483646 w 255"/>
                <a:gd name="T29" fmla="*/ 2147483646 h 412"/>
                <a:gd name="T30" fmla="*/ 2147483646 w 255"/>
                <a:gd name="T31" fmla="*/ 2147483646 h 412"/>
                <a:gd name="T32" fmla="*/ 2147483646 w 255"/>
                <a:gd name="T33" fmla="*/ 2147483646 h 412"/>
                <a:gd name="T34" fmla="*/ 2147483646 w 255"/>
                <a:gd name="T35" fmla="*/ 2147483646 h 412"/>
                <a:gd name="T36" fmla="*/ 2147483646 w 255"/>
                <a:gd name="T37" fmla="*/ 2147483646 h 412"/>
                <a:gd name="T38" fmla="*/ 2147483646 w 255"/>
                <a:gd name="T39" fmla="*/ 2147483646 h 412"/>
                <a:gd name="T40" fmla="*/ 2147483646 w 255"/>
                <a:gd name="T41" fmla="*/ 2147483646 h 412"/>
                <a:gd name="T42" fmla="*/ 2147483646 w 255"/>
                <a:gd name="T43" fmla="*/ 2147483646 h 412"/>
                <a:gd name="T44" fmla="*/ 2147483646 w 255"/>
                <a:gd name="T45" fmla="*/ 2147483646 h 412"/>
                <a:gd name="T46" fmla="*/ 2147483646 w 255"/>
                <a:gd name="T47" fmla="*/ 2147483646 h 412"/>
                <a:gd name="T48" fmla="*/ 2147483646 w 255"/>
                <a:gd name="T49" fmla="*/ 2147483646 h 412"/>
                <a:gd name="T50" fmla="*/ 2147483646 w 255"/>
                <a:gd name="T51" fmla="*/ 2147483646 h 412"/>
                <a:gd name="T52" fmla="*/ 2147483646 w 255"/>
                <a:gd name="T53" fmla="*/ 2147483646 h 412"/>
                <a:gd name="T54" fmla="*/ 2147483646 w 255"/>
                <a:gd name="T55" fmla="*/ 2147483646 h 412"/>
                <a:gd name="T56" fmla="*/ 2147483646 w 255"/>
                <a:gd name="T57" fmla="*/ 2147483646 h 412"/>
                <a:gd name="T58" fmla="*/ 2147483646 w 255"/>
                <a:gd name="T59" fmla="*/ 2147483646 h 412"/>
                <a:gd name="T60" fmla="*/ 2147483646 w 255"/>
                <a:gd name="T61" fmla="*/ 2147483646 h 412"/>
                <a:gd name="T62" fmla="*/ 2147483646 w 255"/>
                <a:gd name="T63" fmla="*/ 2147483646 h 412"/>
                <a:gd name="T64" fmla="*/ 2147483646 w 255"/>
                <a:gd name="T65" fmla="*/ 2147483646 h 412"/>
                <a:gd name="T66" fmla="*/ 2147483646 w 255"/>
                <a:gd name="T67" fmla="*/ 2147483646 h 412"/>
                <a:gd name="T68" fmla="*/ 2147483646 w 255"/>
                <a:gd name="T69" fmla="*/ 2147483646 h 412"/>
                <a:gd name="T70" fmla="*/ 2147483646 w 255"/>
                <a:gd name="T71" fmla="*/ 2147483646 h 412"/>
                <a:gd name="T72" fmla="*/ 2147483646 w 255"/>
                <a:gd name="T73" fmla="*/ 2147483646 h 412"/>
                <a:gd name="T74" fmla="*/ 2147483646 w 255"/>
                <a:gd name="T75" fmla="*/ 2147483646 h 412"/>
                <a:gd name="T76" fmla="*/ 2147483646 w 255"/>
                <a:gd name="T77" fmla="*/ 2147483646 h 412"/>
                <a:gd name="T78" fmla="*/ 2147483646 w 255"/>
                <a:gd name="T79" fmla="*/ 2147483646 h 412"/>
                <a:gd name="T80" fmla="*/ 2147483646 w 255"/>
                <a:gd name="T81" fmla="*/ 2147483646 h 412"/>
                <a:gd name="T82" fmla="*/ 2147483646 w 255"/>
                <a:gd name="T83" fmla="*/ 2147483646 h 412"/>
                <a:gd name="T84" fmla="*/ 2147483646 w 255"/>
                <a:gd name="T85" fmla="*/ 2147483646 h 412"/>
                <a:gd name="T86" fmla="*/ 2147483646 w 255"/>
                <a:gd name="T87" fmla="*/ 2147483646 h 412"/>
                <a:gd name="T88" fmla="*/ 2147483646 w 255"/>
                <a:gd name="T89" fmla="*/ 2147483646 h 412"/>
                <a:gd name="T90" fmla="*/ 2147483646 w 255"/>
                <a:gd name="T91" fmla="*/ 2147483646 h 412"/>
                <a:gd name="T92" fmla="*/ 2147483646 w 255"/>
                <a:gd name="T93" fmla="*/ 2147483646 h 412"/>
                <a:gd name="T94" fmla="*/ 2147483646 w 255"/>
                <a:gd name="T95" fmla="*/ 2147483646 h 412"/>
                <a:gd name="T96" fmla="*/ 2147483646 w 255"/>
                <a:gd name="T97" fmla="*/ 2147483646 h 412"/>
                <a:gd name="T98" fmla="*/ 2147483646 w 255"/>
                <a:gd name="T99" fmla="*/ 2147483646 h 412"/>
                <a:gd name="T100" fmla="*/ 0 w 255"/>
                <a:gd name="T101" fmla="*/ 2147483646 h 412"/>
                <a:gd name="T102" fmla="*/ 2147483646 w 255"/>
                <a:gd name="T103" fmla="*/ 2147483646 h 412"/>
                <a:gd name="T104" fmla="*/ 2147483646 w 255"/>
                <a:gd name="T105" fmla="*/ 2147483646 h 412"/>
                <a:gd name="T106" fmla="*/ 2147483646 w 255"/>
                <a:gd name="T107" fmla="*/ 2147483646 h 412"/>
                <a:gd name="T108" fmla="*/ 2147483646 w 255"/>
                <a:gd name="T109" fmla="*/ 2147483646 h 412"/>
                <a:gd name="T110" fmla="*/ 2147483646 w 255"/>
                <a:gd name="T111" fmla="*/ 2147483646 h 41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5"/>
                <a:gd name="T169" fmla="*/ 0 h 412"/>
                <a:gd name="T170" fmla="*/ 255 w 255"/>
                <a:gd name="T171" fmla="*/ 412 h 41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5" h="412">
                  <a:moveTo>
                    <a:pt x="169" y="344"/>
                  </a:moveTo>
                  <a:cubicBezTo>
                    <a:pt x="45" y="344"/>
                    <a:pt x="45" y="344"/>
                    <a:pt x="45" y="344"/>
                  </a:cubicBezTo>
                  <a:cubicBezTo>
                    <a:pt x="37" y="344"/>
                    <a:pt x="30" y="349"/>
                    <a:pt x="29" y="358"/>
                  </a:cubicBezTo>
                  <a:cubicBezTo>
                    <a:pt x="29" y="370"/>
                    <a:pt x="29" y="370"/>
                    <a:pt x="29" y="370"/>
                  </a:cubicBezTo>
                  <a:cubicBezTo>
                    <a:pt x="30" y="380"/>
                    <a:pt x="37" y="385"/>
                    <a:pt x="45" y="385"/>
                  </a:cubicBezTo>
                  <a:cubicBezTo>
                    <a:pt x="169" y="385"/>
                    <a:pt x="169" y="385"/>
                    <a:pt x="169" y="385"/>
                  </a:cubicBezTo>
                  <a:cubicBezTo>
                    <a:pt x="177" y="385"/>
                    <a:pt x="185" y="380"/>
                    <a:pt x="185" y="370"/>
                  </a:cubicBezTo>
                  <a:cubicBezTo>
                    <a:pt x="185" y="358"/>
                    <a:pt x="185" y="358"/>
                    <a:pt x="185" y="358"/>
                  </a:cubicBezTo>
                  <a:cubicBezTo>
                    <a:pt x="184" y="349"/>
                    <a:pt x="177" y="344"/>
                    <a:pt x="169" y="344"/>
                  </a:cubicBezTo>
                  <a:close/>
                  <a:moveTo>
                    <a:pt x="169" y="369"/>
                  </a:moveTo>
                  <a:cubicBezTo>
                    <a:pt x="45" y="369"/>
                    <a:pt x="45" y="369"/>
                    <a:pt x="45" y="369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45" y="360"/>
                    <a:pt x="45" y="360"/>
                    <a:pt x="45" y="360"/>
                  </a:cubicBezTo>
                  <a:cubicBezTo>
                    <a:pt x="169" y="360"/>
                    <a:pt x="169" y="360"/>
                    <a:pt x="169" y="360"/>
                  </a:cubicBezTo>
                  <a:lnTo>
                    <a:pt x="169" y="369"/>
                  </a:lnTo>
                  <a:close/>
                  <a:moveTo>
                    <a:pt x="185" y="306"/>
                  </a:moveTo>
                  <a:cubicBezTo>
                    <a:pt x="185" y="297"/>
                    <a:pt x="177" y="291"/>
                    <a:pt x="169" y="291"/>
                  </a:cubicBezTo>
                  <a:cubicBezTo>
                    <a:pt x="45" y="291"/>
                    <a:pt x="45" y="291"/>
                    <a:pt x="45" y="291"/>
                  </a:cubicBezTo>
                  <a:cubicBezTo>
                    <a:pt x="37" y="291"/>
                    <a:pt x="30" y="297"/>
                    <a:pt x="29" y="30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30" y="327"/>
                    <a:pt x="37" y="333"/>
                    <a:pt x="45" y="333"/>
                  </a:cubicBezTo>
                  <a:cubicBezTo>
                    <a:pt x="169" y="333"/>
                    <a:pt x="169" y="333"/>
                    <a:pt x="169" y="333"/>
                  </a:cubicBezTo>
                  <a:cubicBezTo>
                    <a:pt x="177" y="333"/>
                    <a:pt x="184" y="327"/>
                    <a:pt x="185" y="318"/>
                  </a:cubicBezTo>
                  <a:lnTo>
                    <a:pt x="185" y="306"/>
                  </a:lnTo>
                  <a:close/>
                  <a:moveTo>
                    <a:pt x="169" y="317"/>
                  </a:moveTo>
                  <a:cubicBezTo>
                    <a:pt x="45" y="317"/>
                    <a:pt x="45" y="317"/>
                    <a:pt x="45" y="317"/>
                  </a:cubicBezTo>
                  <a:cubicBezTo>
                    <a:pt x="45" y="317"/>
                    <a:pt x="45" y="317"/>
                    <a:pt x="45" y="31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45" y="307"/>
                    <a:pt x="45" y="307"/>
                    <a:pt x="45" y="307"/>
                  </a:cubicBezTo>
                  <a:cubicBezTo>
                    <a:pt x="169" y="307"/>
                    <a:pt x="169" y="307"/>
                    <a:pt x="169" y="307"/>
                  </a:cubicBezTo>
                  <a:lnTo>
                    <a:pt x="169" y="317"/>
                  </a:lnTo>
                  <a:close/>
                  <a:moveTo>
                    <a:pt x="185" y="253"/>
                  </a:moveTo>
                  <a:cubicBezTo>
                    <a:pt x="184" y="244"/>
                    <a:pt x="177" y="239"/>
                    <a:pt x="169" y="239"/>
                  </a:cubicBezTo>
                  <a:cubicBezTo>
                    <a:pt x="45" y="239"/>
                    <a:pt x="45" y="239"/>
                    <a:pt x="45" y="239"/>
                  </a:cubicBezTo>
                  <a:cubicBezTo>
                    <a:pt x="37" y="239"/>
                    <a:pt x="30" y="244"/>
                    <a:pt x="29" y="253"/>
                  </a:cubicBezTo>
                  <a:cubicBezTo>
                    <a:pt x="29" y="265"/>
                    <a:pt x="29" y="265"/>
                    <a:pt x="29" y="265"/>
                  </a:cubicBezTo>
                  <a:cubicBezTo>
                    <a:pt x="30" y="275"/>
                    <a:pt x="37" y="280"/>
                    <a:pt x="45" y="280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77" y="280"/>
                    <a:pt x="185" y="275"/>
                    <a:pt x="185" y="265"/>
                  </a:cubicBezTo>
                  <a:lnTo>
                    <a:pt x="185" y="253"/>
                  </a:lnTo>
                  <a:close/>
                  <a:moveTo>
                    <a:pt x="169" y="264"/>
                  </a:moveTo>
                  <a:cubicBezTo>
                    <a:pt x="45" y="264"/>
                    <a:pt x="45" y="264"/>
                    <a:pt x="45" y="264"/>
                  </a:cubicBezTo>
                  <a:cubicBezTo>
                    <a:pt x="45" y="264"/>
                    <a:pt x="45" y="264"/>
                    <a:pt x="45" y="264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45" y="255"/>
                    <a:pt x="45" y="255"/>
                    <a:pt x="45" y="255"/>
                  </a:cubicBezTo>
                  <a:cubicBezTo>
                    <a:pt x="169" y="255"/>
                    <a:pt x="169" y="255"/>
                    <a:pt x="169" y="255"/>
                  </a:cubicBezTo>
                  <a:lnTo>
                    <a:pt x="169" y="264"/>
                  </a:lnTo>
                  <a:close/>
                  <a:moveTo>
                    <a:pt x="185" y="201"/>
                  </a:moveTo>
                  <a:cubicBezTo>
                    <a:pt x="185" y="192"/>
                    <a:pt x="177" y="186"/>
                    <a:pt x="169" y="186"/>
                  </a:cubicBezTo>
                  <a:cubicBezTo>
                    <a:pt x="45" y="186"/>
                    <a:pt x="45" y="186"/>
                    <a:pt x="45" y="186"/>
                  </a:cubicBezTo>
                  <a:cubicBezTo>
                    <a:pt x="37" y="186"/>
                    <a:pt x="30" y="192"/>
                    <a:pt x="29" y="201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30" y="222"/>
                    <a:pt x="37" y="228"/>
                    <a:pt x="45" y="228"/>
                  </a:cubicBezTo>
                  <a:cubicBezTo>
                    <a:pt x="169" y="228"/>
                    <a:pt x="169" y="228"/>
                    <a:pt x="169" y="228"/>
                  </a:cubicBezTo>
                  <a:cubicBezTo>
                    <a:pt x="177" y="228"/>
                    <a:pt x="184" y="222"/>
                    <a:pt x="185" y="213"/>
                  </a:cubicBezTo>
                  <a:lnTo>
                    <a:pt x="185" y="201"/>
                  </a:lnTo>
                  <a:close/>
                  <a:moveTo>
                    <a:pt x="169" y="212"/>
                  </a:moveTo>
                  <a:cubicBezTo>
                    <a:pt x="45" y="212"/>
                    <a:pt x="45" y="212"/>
                    <a:pt x="45" y="212"/>
                  </a:cubicBezTo>
                  <a:cubicBezTo>
                    <a:pt x="45" y="212"/>
                    <a:pt x="45" y="212"/>
                    <a:pt x="45" y="21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45" y="202"/>
                    <a:pt x="45" y="202"/>
                    <a:pt x="45" y="202"/>
                  </a:cubicBezTo>
                  <a:cubicBezTo>
                    <a:pt x="169" y="202"/>
                    <a:pt x="169" y="202"/>
                    <a:pt x="169" y="202"/>
                  </a:cubicBezTo>
                  <a:lnTo>
                    <a:pt x="169" y="212"/>
                  </a:lnTo>
                  <a:close/>
                  <a:moveTo>
                    <a:pt x="185" y="148"/>
                  </a:moveTo>
                  <a:cubicBezTo>
                    <a:pt x="184" y="139"/>
                    <a:pt x="177" y="134"/>
                    <a:pt x="169" y="134"/>
                  </a:cubicBezTo>
                  <a:cubicBezTo>
                    <a:pt x="45" y="134"/>
                    <a:pt x="45" y="134"/>
                    <a:pt x="45" y="134"/>
                  </a:cubicBezTo>
                  <a:cubicBezTo>
                    <a:pt x="37" y="134"/>
                    <a:pt x="30" y="139"/>
                    <a:pt x="29" y="148"/>
                  </a:cubicBezTo>
                  <a:cubicBezTo>
                    <a:pt x="29" y="161"/>
                    <a:pt x="29" y="161"/>
                    <a:pt x="29" y="161"/>
                  </a:cubicBezTo>
                  <a:cubicBezTo>
                    <a:pt x="30" y="170"/>
                    <a:pt x="37" y="175"/>
                    <a:pt x="45" y="175"/>
                  </a:cubicBezTo>
                  <a:cubicBezTo>
                    <a:pt x="169" y="175"/>
                    <a:pt x="169" y="175"/>
                    <a:pt x="169" y="175"/>
                  </a:cubicBezTo>
                  <a:cubicBezTo>
                    <a:pt x="177" y="175"/>
                    <a:pt x="185" y="170"/>
                    <a:pt x="185" y="161"/>
                  </a:cubicBezTo>
                  <a:lnTo>
                    <a:pt x="185" y="148"/>
                  </a:lnTo>
                  <a:close/>
                  <a:moveTo>
                    <a:pt x="169" y="159"/>
                  </a:moveTo>
                  <a:cubicBezTo>
                    <a:pt x="45" y="159"/>
                    <a:pt x="45" y="159"/>
                    <a:pt x="45" y="159"/>
                  </a:cubicBezTo>
                  <a:cubicBezTo>
                    <a:pt x="45" y="159"/>
                    <a:pt x="45" y="159"/>
                    <a:pt x="45" y="159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169" y="150"/>
                    <a:pt x="169" y="150"/>
                    <a:pt x="169" y="150"/>
                  </a:cubicBezTo>
                  <a:lnTo>
                    <a:pt x="169" y="159"/>
                  </a:lnTo>
                  <a:close/>
                  <a:moveTo>
                    <a:pt x="185" y="96"/>
                  </a:moveTo>
                  <a:cubicBezTo>
                    <a:pt x="185" y="87"/>
                    <a:pt x="177" y="81"/>
                    <a:pt x="169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37" y="81"/>
                    <a:pt x="30" y="87"/>
                    <a:pt x="29" y="96"/>
                  </a:cubicBezTo>
                  <a:cubicBezTo>
                    <a:pt x="29" y="108"/>
                    <a:pt x="29" y="108"/>
                    <a:pt x="29" y="108"/>
                  </a:cubicBezTo>
                  <a:cubicBezTo>
                    <a:pt x="30" y="117"/>
                    <a:pt x="37" y="123"/>
                    <a:pt x="45" y="123"/>
                  </a:cubicBezTo>
                  <a:cubicBezTo>
                    <a:pt x="169" y="123"/>
                    <a:pt x="169" y="123"/>
                    <a:pt x="169" y="123"/>
                  </a:cubicBezTo>
                  <a:cubicBezTo>
                    <a:pt x="177" y="123"/>
                    <a:pt x="184" y="117"/>
                    <a:pt x="185" y="108"/>
                  </a:cubicBezTo>
                  <a:lnTo>
                    <a:pt x="185" y="96"/>
                  </a:lnTo>
                  <a:close/>
                  <a:moveTo>
                    <a:pt x="169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169" y="97"/>
                    <a:pt x="169" y="97"/>
                    <a:pt x="169" y="97"/>
                  </a:cubicBezTo>
                  <a:lnTo>
                    <a:pt x="169" y="107"/>
                  </a:lnTo>
                  <a:close/>
                  <a:moveTo>
                    <a:pt x="185" y="44"/>
                  </a:moveTo>
                  <a:cubicBezTo>
                    <a:pt x="184" y="34"/>
                    <a:pt x="177" y="29"/>
                    <a:pt x="169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37" y="29"/>
                    <a:pt x="30" y="34"/>
                    <a:pt x="29" y="44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65"/>
                    <a:pt x="37" y="70"/>
                    <a:pt x="45" y="70"/>
                  </a:cubicBezTo>
                  <a:cubicBezTo>
                    <a:pt x="169" y="70"/>
                    <a:pt x="169" y="70"/>
                    <a:pt x="169" y="70"/>
                  </a:cubicBezTo>
                  <a:cubicBezTo>
                    <a:pt x="177" y="70"/>
                    <a:pt x="185" y="65"/>
                    <a:pt x="185" y="56"/>
                  </a:cubicBezTo>
                  <a:lnTo>
                    <a:pt x="185" y="44"/>
                  </a:lnTo>
                  <a:close/>
                  <a:moveTo>
                    <a:pt x="169" y="54"/>
                  </a:move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169" y="45"/>
                    <a:pt x="169" y="45"/>
                    <a:pt x="169" y="45"/>
                  </a:cubicBezTo>
                  <a:lnTo>
                    <a:pt x="169" y="54"/>
                  </a:lnTo>
                  <a:close/>
                  <a:moveTo>
                    <a:pt x="212" y="88"/>
                  </a:moveTo>
                  <a:cubicBezTo>
                    <a:pt x="204" y="88"/>
                    <a:pt x="198" y="94"/>
                    <a:pt x="198" y="102"/>
                  </a:cubicBezTo>
                  <a:cubicBezTo>
                    <a:pt x="198" y="110"/>
                    <a:pt x="204" y="116"/>
                    <a:pt x="212" y="116"/>
                  </a:cubicBezTo>
                  <a:cubicBezTo>
                    <a:pt x="220" y="116"/>
                    <a:pt x="226" y="110"/>
                    <a:pt x="226" y="102"/>
                  </a:cubicBezTo>
                  <a:cubicBezTo>
                    <a:pt x="226" y="94"/>
                    <a:pt x="220" y="88"/>
                    <a:pt x="212" y="88"/>
                  </a:cubicBezTo>
                  <a:close/>
                  <a:moveTo>
                    <a:pt x="212" y="35"/>
                  </a:moveTo>
                  <a:cubicBezTo>
                    <a:pt x="204" y="35"/>
                    <a:pt x="198" y="42"/>
                    <a:pt x="198" y="50"/>
                  </a:cubicBezTo>
                  <a:cubicBezTo>
                    <a:pt x="198" y="57"/>
                    <a:pt x="204" y="64"/>
                    <a:pt x="212" y="64"/>
                  </a:cubicBezTo>
                  <a:cubicBezTo>
                    <a:pt x="220" y="64"/>
                    <a:pt x="226" y="57"/>
                    <a:pt x="226" y="50"/>
                  </a:cubicBezTo>
                  <a:cubicBezTo>
                    <a:pt x="226" y="42"/>
                    <a:pt x="220" y="35"/>
                    <a:pt x="212" y="35"/>
                  </a:cubicBezTo>
                  <a:close/>
                  <a:moveTo>
                    <a:pt x="212" y="140"/>
                  </a:moveTo>
                  <a:cubicBezTo>
                    <a:pt x="204" y="140"/>
                    <a:pt x="198" y="147"/>
                    <a:pt x="198" y="155"/>
                  </a:cubicBezTo>
                  <a:cubicBezTo>
                    <a:pt x="198" y="162"/>
                    <a:pt x="204" y="169"/>
                    <a:pt x="212" y="169"/>
                  </a:cubicBezTo>
                  <a:cubicBezTo>
                    <a:pt x="220" y="169"/>
                    <a:pt x="226" y="162"/>
                    <a:pt x="226" y="155"/>
                  </a:cubicBezTo>
                  <a:cubicBezTo>
                    <a:pt x="226" y="147"/>
                    <a:pt x="220" y="140"/>
                    <a:pt x="212" y="140"/>
                  </a:cubicBezTo>
                  <a:close/>
                  <a:moveTo>
                    <a:pt x="212" y="193"/>
                  </a:moveTo>
                  <a:cubicBezTo>
                    <a:pt x="204" y="193"/>
                    <a:pt x="198" y="199"/>
                    <a:pt x="198" y="207"/>
                  </a:cubicBezTo>
                  <a:cubicBezTo>
                    <a:pt x="198" y="215"/>
                    <a:pt x="204" y="221"/>
                    <a:pt x="212" y="221"/>
                  </a:cubicBezTo>
                  <a:cubicBezTo>
                    <a:pt x="220" y="221"/>
                    <a:pt x="226" y="215"/>
                    <a:pt x="226" y="207"/>
                  </a:cubicBezTo>
                  <a:cubicBezTo>
                    <a:pt x="226" y="199"/>
                    <a:pt x="220" y="193"/>
                    <a:pt x="212" y="193"/>
                  </a:cubicBezTo>
                  <a:close/>
                  <a:moveTo>
                    <a:pt x="212" y="245"/>
                  </a:moveTo>
                  <a:cubicBezTo>
                    <a:pt x="204" y="245"/>
                    <a:pt x="198" y="252"/>
                    <a:pt x="198" y="259"/>
                  </a:cubicBezTo>
                  <a:cubicBezTo>
                    <a:pt x="198" y="267"/>
                    <a:pt x="204" y="274"/>
                    <a:pt x="212" y="274"/>
                  </a:cubicBezTo>
                  <a:cubicBezTo>
                    <a:pt x="220" y="274"/>
                    <a:pt x="226" y="267"/>
                    <a:pt x="226" y="259"/>
                  </a:cubicBezTo>
                  <a:cubicBezTo>
                    <a:pt x="226" y="252"/>
                    <a:pt x="220" y="245"/>
                    <a:pt x="212" y="245"/>
                  </a:cubicBezTo>
                  <a:close/>
                  <a:moveTo>
                    <a:pt x="212" y="298"/>
                  </a:moveTo>
                  <a:cubicBezTo>
                    <a:pt x="204" y="298"/>
                    <a:pt x="198" y="304"/>
                    <a:pt x="198" y="312"/>
                  </a:cubicBezTo>
                  <a:cubicBezTo>
                    <a:pt x="198" y="320"/>
                    <a:pt x="204" y="326"/>
                    <a:pt x="212" y="326"/>
                  </a:cubicBezTo>
                  <a:cubicBezTo>
                    <a:pt x="220" y="326"/>
                    <a:pt x="226" y="320"/>
                    <a:pt x="226" y="312"/>
                  </a:cubicBezTo>
                  <a:cubicBezTo>
                    <a:pt x="226" y="304"/>
                    <a:pt x="220" y="298"/>
                    <a:pt x="212" y="298"/>
                  </a:cubicBezTo>
                  <a:close/>
                  <a:moveTo>
                    <a:pt x="212" y="350"/>
                  </a:moveTo>
                  <a:cubicBezTo>
                    <a:pt x="204" y="350"/>
                    <a:pt x="198" y="356"/>
                    <a:pt x="198" y="364"/>
                  </a:cubicBezTo>
                  <a:cubicBezTo>
                    <a:pt x="198" y="372"/>
                    <a:pt x="204" y="379"/>
                    <a:pt x="212" y="379"/>
                  </a:cubicBezTo>
                  <a:cubicBezTo>
                    <a:pt x="220" y="379"/>
                    <a:pt x="226" y="372"/>
                    <a:pt x="226" y="364"/>
                  </a:cubicBezTo>
                  <a:cubicBezTo>
                    <a:pt x="226" y="356"/>
                    <a:pt x="220" y="350"/>
                    <a:pt x="212" y="350"/>
                  </a:cubicBezTo>
                  <a:close/>
                  <a:moveTo>
                    <a:pt x="247" y="44"/>
                  </a:moveTo>
                  <a:cubicBezTo>
                    <a:pt x="251" y="44"/>
                    <a:pt x="255" y="41"/>
                    <a:pt x="255" y="3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5" y="7"/>
                    <a:pt x="248" y="0"/>
                    <a:pt x="23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05"/>
                    <a:pt x="7" y="412"/>
                    <a:pt x="16" y="412"/>
                  </a:cubicBezTo>
                  <a:cubicBezTo>
                    <a:pt x="239" y="412"/>
                    <a:pt x="239" y="412"/>
                    <a:pt x="239" y="412"/>
                  </a:cubicBezTo>
                  <a:cubicBezTo>
                    <a:pt x="248" y="412"/>
                    <a:pt x="255" y="405"/>
                    <a:pt x="255" y="396"/>
                  </a:cubicBezTo>
                  <a:cubicBezTo>
                    <a:pt x="255" y="60"/>
                    <a:pt x="255" y="60"/>
                    <a:pt x="255" y="60"/>
                  </a:cubicBezTo>
                  <a:cubicBezTo>
                    <a:pt x="255" y="56"/>
                    <a:pt x="251" y="52"/>
                    <a:pt x="247" y="52"/>
                  </a:cubicBezTo>
                  <a:cubicBezTo>
                    <a:pt x="242" y="52"/>
                    <a:pt x="239" y="56"/>
                    <a:pt x="239" y="60"/>
                  </a:cubicBezTo>
                  <a:cubicBezTo>
                    <a:pt x="239" y="396"/>
                    <a:pt x="239" y="396"/>
                    <a:pt x="239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396"/>
                    <a:pt x="16" y="396"/>
                    <a:pt x="16" y="39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36"/>
                    <a:pt x="239" y="36"/>
                    <a:pt x="239" y="36"/>
                  </a:cubicBezTo>
                  <a:cubicBezTo>
                    <a:pt x="239" y="41"/>
                    <a:pt x="242" y="44"/>
                    <a:pt x="247" y="4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392" name="Freeform 3"/>
          <p:cNvSpPr>
            <a:spLocks noChangeAspect="1" noEditPoints="1"/>
          </p:cNvSpPr>
          <p:nvPr/>
        </p:nvSpPr>
        <p:spPr bwMode="auto">
          <a:xfrm>
            <a:off x="14041438" y="2954338"/>
            <a:ext cx="511175" cy="511175"/>
          </a:xfrm>
          <a:custGeom>
            <a:avLst/>
            <a:gdLst>
              <a:gd name="T0" fmla="*/ 2147483646 w 380"/>
              <a:gd name="T1" fmla="*/ 2147483646 h 380"/>
              <a:gd name="T2" fmla="*/ 2147483646 w 380"/>
              <a:gd name="T3" fmla="*/ 2147483646 h 380"/>
              <a:gd name="T4" fmla="*/ 2147483646 w 380"/>
              <a:gd name="T5" fmla="*/ 2147483646 h 380"/>
              <a:gd name="T6" fmla="*/ 2147483646 w 380"/>
              <a:gd name="T7" fmla="*/ 2147483646 h 380"/>
              <a:gd name="T8" fmla="*/ 2147483646 w 380"/>
              <a:gd name="T9" fmla="*/ 2147483646 h 380"/>
              <a:gd name="T10" fmla="*/ 2147483646 w 380"/>
              <a:gd name="T11" fmla="*/ 2147483646 h 380"/>
              <a:gd name="T12" fmla="*/ 2147483646 w 380"/>
              <a:gd name="T13" fmla="*/ 2147483646 h 380"/>
              <a:gd name="T14" fmla="*/ 2147483646 w 380"/>
              <a:gd name="T15" fmla="*/ 2147483646 h 380"/>
              <a:gd name="T16" fmla="*/ 2147483646 w 380"/>
              <a:gd name="T17" fmla="*/ 2147483646 h 380"/>
              <a:gd name="T18" fmla="*/ 2147483646 w 380"/>
              <a:gd name="T19" fmla="*/ 2147483646 h 380"/>
              <a:gd name="T20" fmla="*/ 2147483646 w 380"/>
              <a:gd name="T21" fmla="*/ 2147483646 h 380"/>
              <a:gd name="T22" fmla="*/ 2147483646 w 380"/>
              <a:gd name="T23" fmla="*/ 2147483646 h 380"/>
              <a:gd name="T24" fmla="*/ 2147483646 w 380"/>
              <a:gd name="T25" fmla="*/ 2147483646 h 380"/>
              <a:gd name="T26" fmla="*/ 2147483646 w 380"/>
              <a:gd name="T27" fmla="*/ 2147483646 h 380"/>
              <a:gd name="T28" fmla="*/ 2147483646 w 380"/>
              <a:gd name="T29" fmla="*/ 2147483646 h 380"/>
              <a:gd name="T30" fmla="*/ 2147483646 w 380"/>
              <a:gd name="T31" fmla="*/ 2147483646 h 380"/>
              <a:gd name="T32" fmla="*/ 2147483646 w 380"/>
              <a:gd name="T33" fmla="*/ 2147483646 h 380"/>
              <a:gd name="T34" fmla="*/ 2147483646 w 380"/>
              <a:gd name="T35" fmla="*/ 2147483646 h 380"/>
              <a:gd name="T36" fmla="*/ 2147483646 w 380"/>
              <a:gd name="T37" fmla="*/ 2147483646 h 380"/>
              <a:gd name="T38" fmla="*/ 2147483646 w 380"/>
              <a:gd name="T39" fmla="*/ 2147483646 h 380"/>
              <a:gd name="T40" fmla="*/ 2147483646 w 380"/>
              <a:gd name="T41" fmla="*/ 0 h 380"/>
              <a:gd name="T42" fmla="*/ 2147483646 w 380"/>
              <a:gd name="T43" fmla="*/ 2147483646 h 380"/>
              <a:gd name="T44" fmla="*/ 2147483646 w 380"/>
              <a:gd name="T45" fmla="*/ 2147483646 h 380"/>
              <a:gd name="T46" fmla="*/ 2147483646 w 380"/>
              <a:gd name="T47" fmla="*/ 2147483646 h 380"/>
              <a:gd name="T48" fmla="*/ 2147483646 w 380"/>
              <a:gd name="T49" fmla="*/ 2147483646 h 380"/>
              <a:gd name="T50" fmla="*/ 2147483646 w 380"/>
              <a:gd name="T51" fmla="*/ 2147483646 h 380"/>
              <a:gd name="T52" fmla="*/ 2147483646 w 380"/>
              <a:gd name="T53" fmla="*/ 2147483646 h 380"/>
              <a:gd name="T54" fmla="*/ 2147483646 w 380"/>
              <a:gd name="T55" fmla="*/ 2147483646 h 380"/>
              <a:gd name="T56" fmla="*/ 2147483646 w 380"/>
              <a:gd name="T57" fmla="*/ 2147483646 h 380"/>
              <a:gd name="T58" fmla="*/ 2147483646 w 380"/>
              <a:gd name="T59" fmla="*/ 2147483646 h 380"/>
              <a:gd name="T60" fmla="*/ 2147483646 w 380"/>
              <a:gd name="T61" fmla="*/ 2147483646 h 380"/>
              <a:gd name="T62" fmla="*/ 2147483646 w 380"/>
              <a:gd name="T63" fmla="*/ 2147483646 h 380"/>
              <a:gd name="T64" fmla="*/ 2147483646 w 380"/>
              <a:gd name="T65" fmla="*/ 2147483646 h 380"/>
              <a:gd name="T66" fmla="*/ 2147483646 w 380"/>
              <a:gd name="T67" fmla="*/ 2147483646 h 380"/>
              <a:gd name="T68" fmla="*/ 2147483646 w 380"/>
              <a:gd name="T69" fmla="*/ 2147483646 h 380"/>
              <a:gd name="T70" fmla="*/ 2147483646 w 380"/>
              <a:gd name="T71" fmla="*/ 2147483646 h 380"/>
              <a:gd name="T72" fmla="*/ 2147483646 w 380"/>
              <a:gd name="T73" fmla="*/ 2147483646 h 380"/>
              <a:gd name="T74" fmla="*/ 2147483646 w 380"/>
              <a:gd name="T75" fmla="*/ 2147483646 h 380"/>
              <a:gd name="T76" fmla="*/ 2147483646 w 380"/>
              <a:gd name="T77" fmla="*/ 2147483646 h 380"/>
              <a:gd name="T78" fmla="*/ 2147483646 w 380"/>
              <a:gd name="T79" fmla="*/ 2147483646 h 380"/>
              <a:gd name="T80" fmla="*/ 2147483646 w 380"/>
              <a:gd name="T81" fmla="*/ 2147483646 h 380"/>
              <a:gd name="T82" fmla="*/ 2147483646 w 380"/>
              <a:gd name="T83" fmla="*/ 2147483646 h 380"/>
              <a:gd name="T84" fmla="*/ 2147483646 w 380"/>
              <a:gd name="T85" fmla="*/ 2147483646 h 380"/>
              <a:gd name="T86" fmla="*/ 2147483646 w 380"/>
              <a:gd name="T87" fmla="*/ 2147483646 h 380"/>
              <a:gd name="T88" fmla="*/ 2147483646 w 380"/>
              <a:gd name="T89" fmla="*/ 2147483646 h 380"/>
              <a:gd name="T90" fmla="*/ 2147483646 w 380"/>
              <a:gd name="T91" fmla="*/ 2147483646 h 380"/>
              <a:gd name="T92" fmla="*/ 2147483646 w 380"/>
              <a:gd name="T93" fmla="*/ 2147483646 h 380"/>
              <a:gd name="T94" fmla="*/ 2147483646 w 380"/>
              <a:gd name="T95" fmla="*/ 2147483646 h 380"/>
              <a:gd name="T96" fmla="*/ 2147483646 w 380"/>
              <a:gd name="T97" fmla="*/ 2147483646 h 380"/>
              <a:gd name="T98" fmla="*/ 2147483646 w 380"/>
              <a:gd name="T99" fmla="*/ 2147483646 h 380"/>
              <a:gd name="T100" fmla="*/ 2147483646 w 380"/>
              <a:gd name="T101" fmla="*/ 2147483646 h 380"/>
              <a:gd name="T102" fmla="*/ 2147483646 w 380"/>
              <a:gd name="T103" fmla="*/ 2147483646 h 380"/>
              <a:gd name="T104" fmla="*/ 2147483646 w 380"/>
              <a:gd name="T105" fmla="*/ 2147483646 h 380"/>
              <a:gd name="T106" fmla="*/ 2147483646 w 380"/>
              <a:gd name="T107" fmla="*/ 2147483646 h 380"/>
              <a:gd name="T108" fmla="*/ 2147483646 w 380"/>
              <a:gd name="T109" fmla="*/ 2147483646 h 380"/>
              <a:gd name="T110" fmla="*/ 2147483646 w 380"/>
              <a:gd name="T111" fmla="*/ 2147483646 h 380"/>
              <a:gd name="T112" fmla="*/ 2147483646 w 380"/>
              <a:gd name="T113" fmla="*/ 2147483646 h 380"/>
              <a:gd name="T114" fmla="*/ 2147483646 w 380"/>
              <a:gd name="T115" fmla="*/ 2147483646 h 380"/>
              <a:gd name="T116" fmla="*/ 2147483646 w 380"/>
              <a:gd name="T117" fmla="*/ 2147483646 h 380"/>
              <a:gd name="T118" fmla="*/ 2147483646 w 380"/>
              <a:gd name="T119" fmla="*/ 2147483646 h 380"/>
              <a:gd name="T120" fmla="*/ 2147483646 w 380"/>
              <a:gd name="T121" fmla="*/ 2147483646 h 380"/>
              <a:gd name="T122" fmla="*/ 2147483646 w 380"/>
              <a:gd name="T123" fmla="*/ 2147483646 h 38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80" h="380">
                <a:moveTo>
                  <a:pt x="310" y="136"/>
                </a:moveTo>
                <a:cubicBezTo>
                  <a:pt x="309" y="134"/>
                  <a:pt x="309" y="134"/>
                  <a:pt x="309" y="134"/>
                </a:cubicBezTo>
                <a:cubicBezTo>
                  <a:pt x="308" y="132"/>
                  <a:pt x="306" y="132"/>
                  <a:pt x="304" y="133"/>
                </a:cubicBezTo>
                <a:cubicBezTo>
                  <a:pt x="302" y="134"/>
                  <a:pt x="302" y="134"/>
                  <a:pt x="302" y="134"/>
                </a:cubicBezTo>
                <a:cubicBezTo>
                  <a:pt x="300" y="132"/>
                  <a:pt x="297" y="130"/>
                  <a:pt x="294" y="129"/>
                </a:cubicBezTo>
                <a:cubicBezTo>
                  <a:pt x="294" y="126"/>
                  <a:pt x="294" y="126"/>
                  <a:pt x="294" y="126"/>
                </a:cubicBezTo>
                <a:cubicBezTo>
                  <a:pt x="294" y="124"/>
                  <a:pt x="292" y="123"/>
                  <a:pt x="290" y="123"/>
                </a:cubicBezTo>
                <a:cubicBezTo>
                  <a:pt x="288" y="123"/>
                  <a:pt x="288" y="123"/>
                  <a:pt x="288" y="123"/>
                </a:cubicBezTo>
                <a:cubicBezTo>
                  <a:pt x="286" y="123"/>
                  <a:pt x="284" y="124"/>
                  <a:pt x="284" y="126"/>
                </a:cubicBezTo>
                <a:cubicBezTo>
                  <a:pt x="284" y="129"/>
                  <a:pt x="284" y="129"/>
                  <a:pt x="284" y="129"/>
                </a:cubicBezTo>
                <a:cubicBezTo>
                  <a:pt x="282" y="129"/>
                  <a:pt x="281" y="130"/>
                  <a:pt x="279" y="130"/>
                </a:cubicBezTo>
                <a:cubicBezTo>
                  <a:pt x="278" y="131"/>
                  <a:pt x="277" y="132"/>
                  <a:pt x="275" y="133"/>
                </a:cubicBezTo>
                <a:cubicBezTo>
                  <a:pt x="273" y="132"/>
                  <a:pt x="273" y="132"/>
                  <a:pt x="273" y="132"/>
                </a:cubicBezTo>
                <a:cubicBezTo>
                  <a:pt x="272" y="131"/>
                  <a:pt x="269" y="132"/>
                  <a:pt x="268" y="133"/>
                </a:cubicBezTo>
                <a:cubicBezTo>
                  <a:pt x="267" y="135"/>
                  <a:pt x="267" y="135"/>
                  <a:pt x="267" y="135"/>
                </a:cubicBezTo>
                <a:cubicBezTo>
                  <a:pt x="266" y="137"/>
                  <a:pt x="266" y="140"/>
                  <a:pt x="268" y="141"/>
                </a:cubicBezTo>
                <a:cubicBezTo>
                  <a:pt x="270" y="142"/>
                  <a:pt x="270" y="142"/>
                  <a:pt x="270" y="142"/>
                </a:cubicBezTo>
                <a:cubicBezTo>
                  <a:pt x="270" y="145"/>
                  <a:pt x="269" y="148"/>
                  <a:pt x="270" y="151"/>
                </a:cubicBezTo>
                <a:cubicBezTo>
                  <a:pt x="268" y="153"/>
                  <a:pt x="268" y="153"/>
                  <a:pt x="268" y="153"/>
                </a:cubicBezTo>
                <a:cubicBezTo>
                  <a:pt x="266" y="154"/>
                  <a:pt x="266" y="156"/>
                  <a:pt x="267" y="158"/>
                </a:cubicBezTo>
                <a:cubicBezTo>
                  <a:pt x="267" y="159"/>
                  <a:pt x="267" y="159"/>
                  <a:pt x="267" y="159"/>
                </a:cubicBezTo>
                <a:cubicBezTo>
                  <a:pt x="268" y="161"/>
                  <a:pt x="271" y="162"/>
                  <a:pt x="272" y="161"/>
                </a:cubicBezTo>
                <a:cubicBezTo>
                  <a:pt x="275" y="159"/>
                  <a:pt x="275" y="159"/>
                  <a:pt x="275" y="159"/>
                </a:cubicBezTo>
                <a:cubicBezTo>
                  <a:pt x="277" y="162"/>
                  <a:pt x="280" y="163"/>
                  <a:pt x="283" y="164"/>
                </a:cubicBezTo>
                <a:cubicBezTo>
                  <a:pt x="283" y="167"/>
                  <a:pt x="283" y="167"/>
                  <a:pt x="283" y="167"/>
                </a:cubicBezTo>
                <a:cubicBezTo>
                  <a:pt x="283" y="169"/>
                  <a:pt x="284" y="170"/>
                  <a:pt x="286" y="171"/>
                </a:cubicBezTo>
                <a:cubicBezTo>
                  <a:pt x="289" y="171"/>
                  <a:pt x="289" y="171"/>
                  <a:pt x="289" y="171"/>
                </a:cubicBezTo>
                <a:cubicBezTo>
                  <a:pt x="291" y="171"/>
                  <a:pt x="293" y="169"/>
                  <a:pt x="293" y="167"/>
                </a:cubicBezTo>
                <a:cubicBezTo>
                  <a:pt x="293" y="165"/>
                  <a:pt x="293" y="165"/>
                  <a:pt x="293" y="165"/>
                </a:cubicBezTo>
                <a:cubicBezTo>
                  <a:pt x="294" y="164"/>
                  <a:pt x="296" y="164"/>
                  <a:pt x="297" y="163"/>
                </a:cubicBezTo>
                <a:cubicBezTo>
                  <a:pt x="299" y="162"/>
                  <a:pt x="300" y="161"/>
                  <a:pt x="301" y="160"/>
                </a:cubicBezTo>
                <a:cubicBezTo>
                  <a:pt x="303" y="161"/>
                  <a:pt x="303" y="161"/>
                  <a:pt x="303" y="161"/>
                </a:cubicBezTo>
                <a:cubicBezTo>
                  <a:pt x="305" y="162"/>
                  <a:pt x="307" y="162"/>
                  <a:pt x="308" y="160"/>
                </a:cubicBezTo>
                <a:cubicBezTo>
                  <a:pt x="309" y="158"/>
                  <a:pt x="309" y="158"/>
                  <a:pt x="309" y="158"/>
                </a:cubicBezTo>
                <a:cubicBezTo>
                  <a:pt x="311" y="156"/>
                  <a:pt x="310" y="154"/>
                  <a:pt x="308" y="153"/>
                </a:cubicBezTo>
                <a:cubicBezTo>
                  <a:pt x="306" y="151"/>
                  <a:pt x="306" y="151"/>
                  <a:pt x="306" y="151"/>
                </a:cubicBezTo>
                <a:cubicBezTo>
                  <a:pt x="307" y="148"/>
                  <a:pt x="307" y="145"/>
                  <a:pt x="306" y="142"/>
                </a:cubicBezTo>
                <a:cubicBezTo>
                  <a:pt x="308" y="141"/>
                  <a:pt x="308" y="141"/>
                  <a:pt x="308" y="141"/>
                </a:cubicBezTo>
                <a:cubicBezTo>
                  <a:pt x="310" y="140"/>
                  <a:pt x="311" y="137"/>
                  <a:pt x="310" y="136"/>
                </a:cubicBezTo>
                <a:close/>
                <a:moveTo>
                  <a:pt x="296" y="153"/>
                </a:moveTo>
                <a:cubicBezTo>
                  <a:pt x="293" y="158"/>
                  <a:pt x="286" y="158"/>
                  <a:pt x="281" y="155"/>
                </a:cubicBezTo>
                <a:cubicBezTo>
                  <a:pt x="277" y="151"/>
                  <a:pt x="276" y="144"/>
                  <a:pt x="280" y="140"/>
                </a:cubicBezTo>
                <a:cubicBezTo>
                  <a:pt x="284" y="135"/>
                  <a:pt x="291" y="135"/>
                  <a:pt x="295" y="138"/>
                </a:cubicBezTo>
                <a:cubicBezTo>
                  <a:pt x="300" y="142"/>
                  <a:pt x="300" y="149"/>
                  <a:pt x="296" y="153"/>
                </a:cubicBezTo>
                <a:close/>
                <a:moveTo>
                  <a:pt x="336" y="68"/>
                </a:moveTo>
                <a:cubicBezTo>
                  <a:pt x="333" y="65"/>
                  <a:pt x="328" y="64"/>
                  <a:pt x="325" y="67"/>
                </a:cubicBezTo>
                <a:cubicBezTo>
                  <a:pt x="321" y="70"/>
                  <a:pt x="321" y="75"/>
                  <a:pt x="324" y="78"/>
                </a:cubicBezTo>
                <a:cubicBezTo>
                  <a:pt x="349" y="108"/>
                  <a:pt x="364" y="147"/>
                  <a:pt x="364" y="190"/>
                </a:cubicBezTo>
                <a:cubicBezTo>
                  <a:pt x="364" y="225"/>
                  <a:pt x="353" y="259"/>
                  <a:pt x="335" y="286"/>
                </a:cubicBezTo>
                <a:cubicBezTo>
                  <a:pt x="333" y="288"/>
                  <a:pt x="329" y="289"/>
                  <a:pt x="326" y="285"/>
                </a:cubicBezTo>
                <a:cubicBezTo>
                  <a:pt x="299" y="258"/>
                  <a:pt x="299" y="258"/>
                  <a:pt x="299" y="258"/>
                </a:cubicBezTo>
                <a:cubicBezTo>
                  <a:pt x="296" y="255"/>
                  <a:pt x="296" y="251"/>
                  <a:pt x="296" y="251"/>
                </a:cubicBezTo>
                <a:cubicBezTo>
                  <a:pt x="302" y="229"/>
                  <a:pt x="302" y="229"/>
                  <a:pt x="302" y="229"/>
                </a:cubicBezTo>
                <a:cubicBezTo>
                  <a:pt x="303" y="226"/>
                  <a:pt x="302" y="224"/>
                  <a:pt x="301" y="222"/>
                </a:cubicBezTo>
                <a:cubicBezTo>
                  <a:pt x="259" y="181"/>
                  <a:pt x="259" y="181"/>
                  <a:pt x="259" y="181"/>
                </a:cubicBezTo>
                <a:cubicBezTo>
                  <a:pt x="258" y="179"/>
                  <a:pt x="255" y="178"/>
                  <a:pt x="253" y="179"/>
                </a:cubicBezTo>
                <a:cubicBezTo>
                  <a:pt x="233" y="184"/>
                  <a:pt x="233" y="184"/>
                  <a:pt x="233" y="184"/>
                </a:cubicBezTo>
                <a:cubicBezTo>
                  <a:pt x="233" y="184"/>
                  <a:pt x="226" y="186"/>
                  <a:pt x="231" y="191"/>
                </a:cubicBezTo>
                <a:cubicBezTo>
                  <a:pt x="237" y="196"/>
                  <a:pt x="258" y="218"/>
                  <a:pt x="258" y="218"/>
                </a:cubicBezTo>
                <a:cubicBezTo>
                  <a:pt x="259" y="219"/>
                  <a:pt x="260" y="220"/>
                  <a:pt x="259" y="221"/>
                </a:cubicBezTo>
                <a:cubicBezTo>
                  <a:pt x="251" y="251"/>
                  <a:pt x="251" y="251"/>
                  <a:pt x="251" y="251"/>
                </a:cubicBezTo>
                <a:cubicBezTo>
                  <a:pt x="251" y="252"/>
                  <a:pt x="250" y="253"/>
                  <a:pt x="249" y="254"/>
                </a:cubicBezTo>
                <a:cubicBezTo>
                  <a:pt x="219" y="262"/>
                  <a:pt x="219" y="262"/>
                  <a:pt x="219" y="262"/>
                </a:cubicBezTo>
                <a:cubicBezTo>
                  <a:pt x="217" y="262"/>
                  <a:pt x="216" y="262"/>
                  <a:pt x="215" y="261"/>
                </a:cubicBezTo>
                <a:cubicBezTo>
                  <a:pt x="215" y="261"/>
                  <a:pt x="193" y="239"/>
                  <a:pt x="188" y="234"/>
                </a:cubicBezTo>
                <a:cubicBezTo>
                  <a:pt x="183" y="229"/>
                  <a:pt x="182" y="236"/>
                  <a:pt x="182" y="236"/>
                </a:cubicBezTo>
                <a:cubicBezTo>
                  <a:pt x="176" y="255"/>
                  <a:pt x="176" y="255"/>
                  <a:pt x="176" y="255"/>
                </a:cubicBezTo>
                <a:cubicBezTo>
                  <a:pt x="176" y="258"/>
                  <a:pt x="176" y="260"/>
                  <a:pt x="178" y="262"/>
                </a:cubicBezTo>
                <a:cubicBezTo>
                  <a:pt x="219" y="303"/>
                  <a:pt x="219" y="303"/>
                  <a:pt x="219" y="303"/>
                </a:cubicBezTo>
                <a:cubicBezTo>
                  <a:pt x="221" y="305"/>
                  <a:pt x="224" y="306"/>
                  <a:pt x="226" y="305"/>
                </a:cubicBezTo>
                <a:cubicBezTo>
                  <a:pt x="248" y="299"/>
                  <a:pt x="248" y="299"/>
                  <a:pt x="248" y="299"/>
                </a:cubicBezTo>
                <a:cubicBezTo>
                  <a:pt x="249" y="299"/>
                  <a:pt x="252" y="298"/>
                  <a:pt x="255" y="301"/>
                </a:cubicBezTo>
                <a:cubicBezTo>
                  <a:pt x="282" y="328"/>
                  <a:pt x="282" y="328"/>
                  <a:pt x="282" y="328"/>
                </a:cubicBezTo>
                <a:cubicBezTo>
                  <a:pt x="286" y="332"/>
                  <a:pt x="285" y="335"/>
                  <a:pt x="282" y="337"/>
                </a:cubicBezTo>
                <a:cubicBezTo>
                  <a:pt x="255" y="354"/>
                  <a:pt x="224" y="364"/>
                  <a:pt x="190" y="364"/>
                </a:cubicBezTo>
                <a:cubicBezTo>
                  <a:pt x="142" y="364"/>
                  <a:pt x="99" y="344"/>
                  <a:pt x="67" y="313"/>
                </a:cubicBezTo>
                <a:cubicBezTo>
                  <a:pt x="36" y="281"/>
                  <a:pt x="16" y="238"/>
                  <a:pt x="16" y="190"/>
                </a:cubicBezTo>
                <a:cubicBezTo>
                  <a:pt x="16" y="142"/>
                  <a:pt x="36" y="98"/>
                  <a:pt x="67" y="67"/>
                </a:cubicBezTo>
                <a:cubicBezTo>
                  <a:pt x="99" y="35"/>
                  <a:pt x="142" y="16"/>
                  <a:pt x="190" y="16"/>
                </a:cubicBezTo>
                <a:cubicBezTo>
                  <a:pt x="233" y="16"/>
                  <a:pt x="272" y="31"/>
                  <a:pt x="302" y="57"/>
                </a:cubicBezTo>
                <a:cubicBezTo>
                  <a:pt x="305" y="59"/>
                  <a:pt x="310" y="59"/>
                  <a:pt x="313" y="56"/>
                </a:cubicBezTo>
                <a:cubicBezTo>
                  <a:pt x="316" y="52"/>
                  <a:pt x="316" y="47"/>
                  <a:pt x="312" y="44"/>
                </a:cubicBezTo>
                <a:cubicBezTo>
                  <a:pt x="312" y="44"/>
                  <a:pt x="312" y="44"/>
                  <a:pt x="312" y="44"/>
                </a:cubicBezTo>
                <a:cubicBezTo>
                  <a:pt x="279" y="17"/>
                  <a:pt x="237" y="0"/>
                  <a:pt x="190" y="0"/>
                </a:cubicBezTo>
                <a:cubicBezTo>
                  <a:pt x="85" y="0"/>
                  <a:pt x="0" y="85"/>
                  <a:pt x="0" y="190"/>
                </a:cubicBezTo>
                <a:cubicBezTo>
                  <a:pt x="0" y="295"/>
                  <a:pt x="85" y="380"/>
                  <a:pt x="190" y="380"/>
                </a:cubicBezTo>
                <a:cubicBezTo>
                  <a:pt x="224" y="380"/>
                  <a:pt x="255" y="371"/>
                  <a:pt x="282" y="356"/>
                </a:cubicBezTo>
                <a:cubicBezTo>
                  <a:pt x="283" y="356"/>
                  <a:pt x="283" y="356"/>
                  <a:pt x="283" y="356"/>
                </a:cubicBezTo>
                <a:cubicBezTo>
                  <a:pt x="284" y="355"/>
                  <a:pt x="284" y="355"/>
                  <a:pt x="284" y="355"/>
                </a:cubicBezTo>
                <a:cubicBezTo>
                  <a:pt x="341" y="322"/>
                  <a:pt x="380" y="261"/>
                  <a:pt x="380" y="190"/>
                </a:cubicBezTo>
                <a:cubicBezTo>
                  <a:pt x="380" y="143"/>
                  <a:pt x="363" y="101"/>
                  <a:pt x="336" y="68"/>
                </a:cubicBezTo>
                <a:close/>
                <a:moveTo>
                  <a:pt x="247" y="105"/>
                </a:moveTo>
                <a:cubicBezTo>
                  <a:pt x="250" y="105"/>
                  <a:pt x="250" y="105"/>
                  <a:pt x="250" y="105"/>
                </a:cubicBezTo>
                <a:cubicBezTo>
                  <a:pt x="252" y="105"/>
                  <a:pt x="254" y="103"/>
                  <a:pt x="254" y="101"/>
                </a:cubicBezTo>
                <a:cubicBezTo>
                  <a:pt x="254" y="99"/>
                  <a:pt x="254" y="99"/>
                  <a:pt x="254" y="99"/>
                </a:cubicBezTo>
                <a:cubicBezTo>
                  <a:pt x="255" y="99"/>
                  <a:pt x="257" y="98"/>
                  <a:pt x="258" y="97"/>
                </a:cubicBezTo>
                <a:cubicBezTo>
                  <a:pt x="260" y="96"/>
                  <a:pt x="261" y="95"/>
                  <a:pt x="262" y="94"/>
                </a:cubicBezTo>
                <a:cubicBezTo>
                  <a:pt x="264" y="95"/>
                  <a:pt x="264" y="95"/>
                  <a:pt x="264" y="95"/>
                </a:cubicBezTo>
                <a:cubicBezTo>
                  <a:pt x="266" y="96"/>
                  <a:pt x="268" y="96"/>
                  <a:pt x="269" y="94"/>
                </a:cubicBezTo>
                <a:cubicBezTo>
                  <a:pt x="271" y="92"/>
                  <a:pt x="271" y="92"/>
                  <a:pt x="271" y="92"/>
                </a:cubicBezTo>
                <a:cubicBezTo>
                  <a:pt x="272" y="90"/>
                  <a:pt x="271" y="88"/>
                  <a:pt x="269" y="87"/>
                </a:cubicBezTo>
                <a:cubicBezTo>
                  <a:pt x="267" y="86"/>
                  <a:pt x="267" y="86"/>
                  <a:pt x="267" y="86"/>
                </a:cubicBezTo>
                <a:cubicBezTo>
                  <a:pt x="268" y="83"/>
                  <a:pt x="268" y="79"/>
                  <a:pt x="267" y="76"/>
                </a:cubicBezTo>
                <a:cubicBezTo>
                  <a:pt x="270" y="75"/>
                  <a:pt x="270" y="75"/>
                  <a:pt x="270" y="75"/>
                </a:cubicBezTo>
                <a:cubicBezTo>
                  <a:pt x="271" y="74"/>
                  <a:pt x="272" y="72"/>
                  <a:pt x="271" y="70"/>
                </a:cubicBezTo>
                <a:cubicBezTo>
                  <a:pt x="270" y="68"/>
                  <a:pt x="270" y="68"/>
                  <a:pt x="270" y="68"/>
                </a:cubicBezTo>
                <a:cubicBezTo>
                  <a:pt x="269" y="67"/>
                  <a:pt x="267" y="66"/>
                  <a:pt x="265" y="67"/>
                </a:cubicBezTo>
                <a:cubicBezTo>
                  <a:pt x="263" y="68"/>
                  <a:pt x="263" y="68"/>
                  <a:pt x="263" y="68"/>
                </a:cubicBezTo>
                <a:cubicBezTo>
                  <a:pt x="261" y="66"/>
                  <a:pt x="258" y="64"/>
                  <a:pt x="255" y="63"/>
                </a:cubicBezTo>
                <a:cubicBezTo>
                  <a:pt x="255" y="61"/>
                  <a:pt x="255" y="61"/>
                  <a:pt x="255" y="61"/>
                </a:cubicBezTo>
                <a:cubicBezTo>
                  <a:pt x="255" y="59"/>
                  <a:pt x="253" y="57"/>
                  <a:pt x="251" y="57"/>
                </a:cubicBezTo>
                <a:cubicBezTo>
                  <a:pt x="249" y="57"/>
                  <a:pt x="249" y="57"/>
                  <a:pt x="249" y="57"/>
                </a:cubicBezTo>
                <a:cubicBezTo>
                  <a:pt x="247" y="57"/>
                  <a:pt x="245" y="58"/>
                  <a:pt x="245" y="61"/>
                </a:cubicBezTo>
                <a:cubicBezTo>
                  <a:pt x="245" y="63"/>
                  <a:pt x="245" y="63"/>
                  <a:pt x="245" y="63"/>
                </a:cubicBezTo>
                <a:cubicBezTo>
                  <a:pt x="243" y="63"/>
                  <a:pt x="242" y="64"/>
                  <a:pt x="240" y="65"/>
                </a:cubicBezTo>
                <a:cubicBezTo>
                  <a:pt x="239" y="65"/>
                  <a:pt x="238" y="66"/>
                  <a:pt x="236" y="68"/>
                </a:cubicBezTo>
                <a:cubicBezTo>
                  <a:pt x="235" y="66"/>
                  <a:pt x="235" y="66"/>
                  <a:pt x="235" y="66"/>
                </a:cubicBezTo>
                <a:cubicBezTo>
                  <a:pt x="233" y="65"/>
                  <a:pt x="230" y="66"/>
                  <a:pt x="229" y="68"/>
                </a:cubicBezTo>
                <a:cubicBezTo>
                  <a:pt x="228" y="70"/>
                  <a:pt x="228" y="70"/>
                  <a:pt x="228" y="70"/>
                </a:cubicBezTo>
                <a:cubicBezTo>
                  <a:pt x="227" y="71"/>
                  <a:pt x="228" y="74"/>
                  <a:pt x="229" y="75"/>
                </a:cubicBezTo>
                <a:cubicBezTo>
                  <a:pt x="231" y="76"/>
                  <a:pt x="231" y="76"/>
                  <a:pt x="231" y="76"/>
                </a:cubicBezTo>
                <a:cubicBezTo>
                  <a:pt x="231" y="79"/>
                  <a:pt x="231" y="82"/>
                  <a:pt x="231" y="86"/>
                </a:cubicBezTo>
                <a:cubicBezTo>
                  <a:pt x="229" y="87"/>
                  <a:pt x="229" y="87"/>
                  <a:pt x="229" y="87"/>
                </a:cubicBezTo>
                <a:cubicBezTo>
                  <a:pt x="227" y="88"/>
                  <a:pt x="227" y="90"/>
                  <a:pt x="228" y="92"/>
                </a:cubicBezTo>
                <a:cubicBezTo>
                  <a:pt x="228" y="93"/>
                  <a:pt x="228" y="93"/>
                  <a:pt x="228" y="93"/>
                </a:cubicBezTo>
                <a:cubicBezTo>
                  <a:pt x="229" y="95"/>
                  <a:pt x="232" y="96"/>
                  <a:pt x="234" y="95"/>
                </a:cubicBezTo>
                <a:cubicBezTo>
                  <a:pt x="236" y="94"/>
                  <a:pt x="236" y="94"/>
                  <a:pt x="236" y="94"/>
                </a:cubicBezTo>
                <a:cubicBezTo>
                  <a:pt x="238" y="96"/>
                  <a:pt x="241" y="98"/>
                  <a:pt x="244" y="99"/>
                </a:cubicBezTo>
                <a:cubicBezTo>
                  <a:pt x="244" y="101"/>
                  <a:pt x="244" y="101"/>
                  <a:pt x="244" y="101"/>
                </a:cubicBezTo>
                <a:cubicBezTo>
                  <a:pt x="244" y="103"/>
                  <a:pt x="245" y="105"/>
                  <a:pt x="247" y="105"/>
                </a:cubicBezTo>
                <a:close/>
                <a:moveTo>
                  <a:pt x="243" y="89"/>
                </a:moveTo>
                <a:cubicBezTo>
                  <a:pt x="238" y="85"/>
                  <a:pt x="237" y="78"/>
                  <a:pt x="241" y="74"/>
                </a:cubicBezTo>
                <a:cubicBezTo>
                  <a:pt x="245" y="70"/>
                  <a:pt x="252" y="69"/>
                  <a:pt x="256" y="73"/>
                </a:cubicBezTo>
                <a:cubicBezTo>
                  <a:pt x="261" y="77"/>
                  <a:pt x="261" y="83"/>
                  <a:pt x="257" y="88"/>
                </a:cubicBezTo>
                <a:cubicBezTo>
                  <a:pt x="254" y="92"/>
                  <a:pt x="247" y="93"/>
                  <a:pt x="243" y="89"/>
                </a:cubicBezTo>
                <a:close/>
                <a:moveTo>
                  <a:pt x="147" y="283"/>
                </a:moveTo>
                <a:cubicBezTo>
                  <a:pt x="150" y="283"/>
                  <a:pt x="150" y="283"/>
                  <a:pt x="150" y="283"/>
                </a:cubicBezTo>
                <a:cubicBezTo>
                  <a:pt x="153" y="282"/>
                  <a:pt x="155" y="280"/>
                  <a:pt x="155" y="277"/>
                </a:cubicBezTo>
                <a:cubicBezTo>
                  <a:pt x="155" y="273"/>
                  <a:pt x="155" y="273"/>
                  <a:pt x="155" y="273"/>
                </a:cubicBezTo>
                <a:cubicBezTo>
                  <a:pt x="155" y="270"/>
                  <a:pt x="152" y="268"/>
                  <a:pt x="149" y="268"/>
                </a:cubicBezTo>
                <a:cubicBezTo>
                  <a:pt x="145" y="268"/>
                  <a:pt x="145" y="268"/>
                  <a:pt x="145" y="268"/>
                </a:cubicBezTo>
                <a:cubicBezTo>
                  <a:pt x="144" y="264"/>
                  <a:pt x="141" y="260"/>
                  <a:pt x="137" y="256"/>
                </a:cubicBezTo>
                <a:cubicBezTo>
                  <a:pt x="139" y="253"/>
                  <a:pt x="139" y="253"/>
                  <a:pt x="139" y="253"/>
                </a:cubicBezTo>
                <a:cubicBezTo>
                  <a:pt x="140" y="250"/>
                  <a:pt x="139" y="247"/>
                  <a:pt x="136" y="246"/>
                </a:cubicBezTo>
                <a:cubicBezTo>
                  <a:pt x="134" y="245"/>
                  <a:pt x="134" y="245"/>
                  <a:pt x="134" y="245"/>
                </a:cubicBezTo>
                <a:cubicBezTo>
                  <a:pt x="131" y="243"/>
                  <a:pt x="128" y="244"/>
                  <a:pt x="127" y="247"/>
                </a:cubicBezTo>
                <a:cubicBezTo>
                  <a:pt x="125" y="251"/>
                  <a:pt x="125" y="251"/>
                  <a:pt x="125" y="251"/>
                </a:cubicBezTo>
                <a:cubicBezTo>
                  <a:pt x="120" y="250"/>
                  <a:pt x="115" y="250"/>
                  <a:pt x="111" y="251"/>
                </a:cubicBezTo>
                <a:cubicBezTo>
                  <a:pt x="109" y="248"/>
                  <a:pt x="109" y="248"/>
                  <a:pt x="109" y="248"/>
                </a:cubicBezTo>
                <a:cubicBezTo>
                  <a:pt x="107" y="246"/>
                  <a:pt x="104" y="245"/>
                  <a:pt x="101" y="247"/>
                </a:cubicBezTo>
                <a:cubicBezTo>
                  <a:pt x="98" y="249"/>
                  <a:pt x="98" y="249"/>
                  <a:pt x="98" y="249"/>
                </a:cubicBezTo>
                <a:cubicBezTo>
                  <a:pt x="95" y="251"/>
                  <a:pt x="95" y="254"/>
                  <a:pt x="97" y="257"/>
                </a:cubicBezTo>
                <a:cubicBezTo>
                  <a:pt x="98" y="260"/>
                  <a:pt x="98" y="260"/>
                  <a:pt x="98" y="260"/>
                </a:cubicBezTo>
                <a:cubicBezTo>
                  <a:pt x="97" y="261"/>
                  <a:pt x="96" y="263"/>
                  <a:pt x="94" y="266"/>
                </a:cubicBezTo>
                <a:cubicBezTo>
                  <a:pt x="93" y="268"/>
                  <a:pt x="93" y="270"/>
                  <a:pt x="92" y="273"/>
                </a:cubicBezTo>
                <a:cubicBezTo>
                  <a:pt x="89" y="273"/>
                  <a:pt x="89" y="273"/>
                  <a:pt x="89" y="273"/>
                </a:cubicBezTo>
                <a:cubicBezTo>
                  <a:pt x="86" y="273"/>
                  <a:pt x="83" y="276"/>
                  <a:pt x="84" y="279"/>
                </a:cubicBezTo>
                <a:cubicBezTo>
                  <a:pt x="84" y="282"/>
                  <a:pt x="84" y="282"/>
                  <a:pt x="84" y="282"/>
                </a:cubicBezTo>
                <a:cubicBezTo>
                  <a:pt x="84" y="286"/>
                  <a:pt x="87" y="288"/>
                  <a:pt x="90" y="288"/>
                </a:cubicBezTo>
                <a:cubicBezTo>
                  <a:pt x="93" y="287"/>
                  <a:pt x="93" y="287"/>
                  <a:pt x="93" y="287"/>
                </a:cubicBezTo>
                <a:cubicBezTo>
                  <a:pt x="95" y="292"/>
                  <a:pt x="98" y="296"/>
                  <a:pt x="102" y="299"/>
                </a:cubicBezTo>
                <a:cubicBezTo>
                  <a:pt x="100" y="302"/>
                  <a:pt x="100" y="302"/>
                  <a:pt x="100" y="302"/>
                </a:cubicBezTo>
                <a:cubicBezTo>
                  <a:pt x="99" y="305"/>
                  <a:pt x="100" y="308"/>
                  <a:pt x="103" y="310"/>
                </a:cubicBezTo>
                <a:cubicBezTo>
                  <a:pt x="105" y="311"/>
                  <a:pt x="105" y="311"/>
                  <a:pt x="105" y="311"/>
                </a:cubicBezTo>
                <a:cubicBezTo>
                  <a:pt x="107" y="312"/>
                  <a:pt x="111" y="311"/>
                  <a:pt x="112" y="308"/>
                </a:cubicBezTo>
                <a:cubicBezTo>
                  <a:pt x="114" y="305"/>
                  <a:pt x="114" y="305"/>
                  <a:pt x="114" y="305"/>
                </a:cubicBezTo>
                <a:cubicBezTo>
                  <a:pt x="119" y="306"/>
                  <a:pt x="123" y="305"/>
                  <a:pt x="128" y="304"/>
                </a:cubicBezTo>
                <a:cubicBezTo>
                  <a:pt x="130" y="307"/>
                  <a:pt x="130" y="307"/>
                  <a:pt x="130" y="307"/>
                </a:cubicBezTo>
                <a:cubicBezTo>
                  <a:pt x="132" y="309"/>
                  <a:pt x="135" y="310"/>
                  <a:pt x="138" y="308"/>
                </a:cubicBezTo>
                <a:cubicBezTo>
                  <a:pt x="141" y="306"/>
                  <a:pt x="141" y="306"/>
                  <a:pt x="141" y="306"/>
                </a:cubicBezTo>
                <a:cubicBezTo>
                  <a:pt x="143" y="305"/>
                  <a:pt x="144" y="301"/>
                  <a:pt x="142" y="299"/>
                </a:cubicBezTo>
                <a:cubicBezTo>
                  <a:pt x="140" y="296"/>
                  <a:pt x="140" y="296"/>
                  <a:pt x="140" y="296"/>
                </a:cubicBezTo>
                <a:cubicBezTo>
                  <a:pt x="142" y="294"/>
                  <a:pt x="143" y="292"/>
                  <a:pt x="144" y="290"/>
                </a:cubicBezTo>
                <a:cubicBezTo>
                  <a:pt x="145" y="287"/>
                  <a:pt x="146" y="285"/>
                  <a:pt x="147" y="283"/>
                </a:cubicBezTo>
                <a:close/>
                <a:moveTo>
                  <a:pt x="132" y="289"/>
                </a:moveTo>
                <a:cubicBezTo>
                  <a:pt x="126" y="296"/>
                  <a:pt x="115" y="297"/>
                  <a:pt x="108" y="291"/>
                </a:cubicBezTo>
                <a:cubicBezTo>
                  <a:pt x="101" y="285"/>
                  <a:pt x="100" y="274"/>
                  <a:pt x="106" y="267"/>
                </a:cubicBezTo>
                <a:cubicBezTo>
                  <a:pt x="112" y="259"/>
                  <a:pt x="123" y="258"/>
                  <a:pt x="130" y="265"/>
                </a:cubicBezTo>
                <a:cubicBezTo>
                  <a:pt x="138" y="271"/>
                  <a:pt x="139" y="282"/>
                  <a:pt x="132" y="289"/>
                </a:cubicBezTo>
                <a:close/>
                <a:moveTo>
                  <a:pt x="201" y="155"/>
                </a:moveTo>
                <a:cubicBezTo>
                  <a:pt x="201" y="154"/>
                  <a:pt x="201" y="154"/>
                  <a:pt x="201" y="153"/>
                </a:cubicBezTo>
                <a:cubicBezTo>
                  <a:pt x="202" y="153"/>
                  <a:pt x="202" y="152"/>
                  <a:pt x="202" y="151"/>
                </a:cubicBezTo>
                <a:cubicBezTo>
                  <a:pt x="202" y="151"/>
                  <a:pt x="202" y="151"/>
                  <a:pt x="202" y="151"/>
                </a:cubicBezTo>
                <a:cubicBezTo>
                  <a:pt x="208" y="151"/>
                  <a:pt x="208" y="151"/>
                  <a:pt x="208" y="151"/>
                </a:cubicBezTo>
                <a:cubicBezTo>
                  <a:pt x="211" y="151"/>
                  <a:pt x="214" y="148"/>
                  <a:pt x="214" y="145"/>
                </a:cubicBezTo>
                <a:cubicBezTo>
                  <a:pt x="214" y="135"/>
                  <a:pt x="214" y="135"/>
                  <a:pt x="214" y="135"/>
                </a:cubicBezTo>
                <a:cubicBezTo>
                  <a:pt x="214" y="132"/>
                  <a:pt x="211" y="129"/>
                  <a:pt x="208" y="129"/>
                </a:cubicBezTo>
                <a:cubicBezTo>
                  <a:pt x="202" y="129"/>
                  <a:pt x="202" y="129"/>
                  <a:pt x="202" y="129"/>
                </a:cubicBezTo>
                <a:cubicBezTo>
                  <a:pt x="201" y="125"/>
                  <a:pt x="200" y="120"/>
                  <a:pt x="198" y="115"/>
                </a:cubicBezTo>
                <a:cubicBezTo>
                  <a:pt x="196" y="111"/>
                  <a:pt x="194" y="107"/>
                  <a:pt x="192" y="104"/>
                </a:cubicBezTo>
                <a:cubicBezTo>
                  <a:pt x="196" y="100"/>
                  <a:pt x="196" y="100"/>
                  <a:pt x="196" y="100"/>
                </a:cubicBezTo>
                <a:cubicBezTo>
                  <a:pt x="198" y="98"/>
                  <a:pt x="198" y="94"/>
                  <a:pt x="196" y="92"/>
                </a:cubicBezTo>
                <a:cubicBezTo>
                  <a:pt x="189" y="85"/>
                  <a:pt x="189" y="85"/>
                  <a:pt x="189" y="85"/>
                </a:cubicBezTo>
                <a:cubicBezTo>
                  <a:pt x="186" y="82"/>
                  <a:pt x="183" y="82"/>
                  <a:pt x="180" y="85"/>
                </a:cubicBezTo>
                <a:cubicBezTo>
                  <a:pt x="176" y="88"/>
                  <a:pt x="176" y="88"/>
                  <a:pt x="176" y="88"/>
                </a:cubicBezTo>
                <a:cubicBezTo>
                  <a:pt x="169" y="83"/>
                  <a:pt x="160" y="79"/>
                  <a:pt x="151" y="78"/>
                </a:cubicBezTo>
                <a:cubicBezTo>
                  <a:pt x="151" y="72"/>
                  <a:pt x="151" y="72"/>
                  <a:pt x="151" y="72"/>
                </a:cubicBezTo>
                <a:cubicBezTo>
                  <a:pt x="151" y="69"/>
                  <a:pt x="148" y="66"/>
                  <a:pt x="145" y="66"/>
                </a:cubicBezTo>
                <a:cubicBezTo>
                  <a:pt x="135" y="67"/>
                  <a:pt x="135" y="67"/>
                  <a:pt x="135" y="67"/>
                </a:cubicBezTo>
                <a:cubicBezTo>
                  <a:pt x="132" y="67"/>
                  <a:pt x="129" y="69"/>
                  <a:pt x="129" y="72"/>
                </a:cubicBezTo>
                <a:cubicBezTo>
                  <a:pt x="129" y="78"/>
                  <a:pt x="129" y="78"/>
                  <a:pt x="129" y="78"/>
                </a:cubicBezTo>
                <a:cubicBezTo>
                  <a:pt x="125" y="78"/>
                  <a:pt x="120" y="80"/>
                  <a:pt x="115" y="82"/>
                </a:cubicBezTo>
                <a:cubicBezTo>
                  <a:pt x="111" y="84"/>
                  <a:pt x="107" y="86"/>
                  <a:pt x="103" y="88"/>
                </a:cubicBezTo>
                <a:cubicBezTo>
                  <a:pt x="100" y="85"/>
                  <a:pt x="100" y="85"/>
                  <a:pt x="100" y="85"/>
                </a:cubicBezTo>
                <a:cubicBezTo>
                  <a:pt x="97" y="82"/>
                  <a:pt x="94" y="82"/>
                  <a:pt x="91" y="85"/>
                </a:cubicBezTo>
                <a:cubicBezTo>
                  <a:pt x="84" y="92"/>
                  <a:pt x="84" y="92"/>
                  <a:pt x="84" y="92"/>
                </a:cubicBezTo>
                <a:cubicBezTo>
                  <a:pt x="82" y="94"/>
                  <a:pt x="82" y="98"/>
                  <a:pt x="84" y="100"/>
                </a:cubicBezTo>
                <a:cubicBezTo>
                  <a:pt x="88" y="104"/>
                  <a:pt x="88" y="104"/>
                  <a:pt x="88" y="104"/>
                </a:cubicBezTo>
                <a:cubicBezTo>
                  <a:pt x="83" y="111"/>
                  <a:pt x="79" y="120"/>
                  <a:pt x="78" y="130"/>
                </a:cubicBezTo>
                <a:cubicBezTo>
                  <a:pt x="72" y="130"/>
                  <a:pt x="72" y="130"/>
                  <a:pt x="72" y="130"/>
                </a:cubicBezTo>
                <a:cubicBezTo>
                  <a:pt x="69" y="130"/>
                  <a:pt x="66" y="132"/>
                  <a:pt x="66" y="135"/>
                </a:cubicBezTo>
                <a:cubicBezTo>
                  <a:pt x="66" y="145"/>
                  <a:pt x="66" y="145"/>
                  <a:pt x="66" y="145"/>
                </a:cubicBezTo>
                <a:cubicBezTo>
                  <a:pt x="66" y="148"/>
                  <a:pt x="69" y="151"/>
                  <a:pt x="72" y="151"/>
                </a:cubicBezTo>
                <a:cubicBezTo>
                  <a:pt x="78" y="151"/>
                  <a:pt x="78" y="151"/>
                  <a:pt x="78" y="151"/>
                </a:cubicBezTo>
                <a:cubicBezTo>
                  <a:pt x="79" y="156"/>
                  <a:pt x="80" y="160"/>
                  <a:pt x="82" y="164"/>
                </a:cubicBezTo>
                <a:cubicBezTo>
                  <a:pt x="84" y="169"/>
                  <a:pt x="86" y="173"/>
                  <a:pt x="89" y="177"/>
                </a:cubicBezTo>
                <a:cubicBezTo>
                  <a:pt x="84" y="181"/>
                  <a:pt x="84" y="181"/>
                  <a:pt x="84" y="181"/>
                </a:cubicBezTo>
                <a:cubicBezTo>
                  <a:pt x="82" y="183"/>
                  <a:pt x="82" y="187"/>
                  <a:pt x="84" y="189"/>
                </a:cubicBezTo>
                <a:cubicBezTo>
                  <a:pt x="91" y="196"/>
                  <a:pt x="91" y="196"/>
                  <a:pt x="91" y="196"/>
                </a:cubicBezTo>
                <a:cubicBezTo>
                  <a:pt x="94" y="198"/>
                  <a:pt x="97" y="198"/>
                  <a:pt x="100" y="196"/>
                </a:cubicBezTo>
                <a:cubicBezTo>
                  <a:pt x="104" y="192"/>
                  <a:pt x="104" y="192"/>
                  <a:pt x="104" y="192"/>
                </a:cubicBezTo>
                <a:cubicBezTo>
                  <a:pt x="104" y="192"/>
                  <a:pt x="104" y="192"/>
                  <a:pt x="104" y="192"/>
                </a:cubicBezTo>
                <a:cubicBezTo>
                  <a:pt x="105" y="192"/>
                  <a:pt x="106" y="193"/>
                  <a:pt x="106" y="193"/>
                </a:cubicBezTo>
                <a:cubicBezTo>
                  <a:pt x="107" y="193"/>
                  <a:pt x="107" y="194"/>
                  <a:pt x="108" y="194"/>
                </a:cubicBezTo>
                <a:cubicBezTo>
                  <a:pt x="108" y="194"/>
                  <a:pt x="108" y="194"/>
                  <a:pt x="108" y="194"/>
                </a:cubicBezTo>
                <a:cubicBezTo>
                  <a:pt x="115" y="198"/>
                  <a:pt x="122" y="201"/>
                  <a:pt x="129" y="202"/>
                </a:cubicBezTo>
                <a:cubicBezTo>
                  <a:pt x="129" y="208"/>
                  <a:pt x="129" y="208"/>
                  <a:pt x="129" y="208"/>
                </a:cubicBezTo>
                <a:cubicBezTo>
                  <a:pt x="129" y="211"/>
                  <a:pt x="132" y="214"/>
                  <a:pt x="135" y="214"/>
                </a:cubicBezTo>
                <a:cubicBezTo>
                  <a:pt x="145" y="214"/>
                  <a:pt x="145" y="214"/>
                  <a:pt x="145" y="214"/>
                </a:cubicBezTo>
                <a:cubicBezTo>
                  <a:pt x="148" y="214"/>
                  <a:pt x="151" y="211"/>
                  <a:pt x="151" y="208"/>
                </a:cubicBezTo>
                <a:cubicBezTo>
                  <a:pt x="151" y="202"/>
                  <a:pt x="151" y="202"/>
                  <a:pt x="151" y="202"/>
                </a:cubicBezTo>
                <a:cubicBezTo>
                  <a:pt x="155" y="201"/>
                  <a:pt x="160" y="200"/>
                  <a:pt x="165" y="198"/>
                </a:cubicBezTo>
                <a:cubicBezTo>
                  <a:pt x="169" y="196"/>
                  <a:pt x="173" y="194"/>
                  <a:pt x="176" y="192"/>
                </a:cubicBezTo>
                <a:cubicBezTo>
                  <a:pt x="180" y="196"/>
                  <a:pt x="180" y="196"/>
                  <a:pt x="180" y="196"/>
                </a:cubicBezTo>
                <a:cubicBezTo>
                  <a:pt x="183" y="198"/>
                  <a:pt x="186" y="198"/>
                  <a:pt x="189" y="196"/>
                </a:cubicBezTo>
                <a:cubicBezTo>
                  <a:pt x="196" y="189"/>
                  <a:pt x="196" y="189"/>
                  <a:pt x="196" y="189"/>
                </a:cubicBezTo>
                <a:cubicBezTo>
                  <a:pt x="198" y="187"/>
                  <a:pt x="198" y="183"/>
                  <a:pt x="196" y="181"/>
                </a:cubicBezTo>
                <a:cubicBezTo>
                  <a:pt x="191" y="176"/>
                  <a:pt x="191" y="176"/>
                  <a:pt x="191" y="176"/>
                </a:cubicBezTo>
                <a:cubicBezTo>
                  <a:pt x="196" y="170"/>
                  <a:pt x="199" y="163"/>
                  <a:pt x="201" y="155"/>
                </a:cubicBezTo>
                <a:cubicBezTo>
                  <a:pt x="201" y="155"/>
                  <a:pt x="201" y="155"/>
                  <a:pt x="201" y="155"/>
                </a:cubicBezTo>
                <a:close/>
                <a:moveTo>
                  <a:pt x="184" y="158"/>
                </a:moveTo>
                <a:cubicBezTo>
                  <a:pt x="180" y="169"/>
                  <a:pt x="171" y="179"/>
                  <a:pt x="159" y="184"/>
                </a:cubicBezTo>
                <a:cubicBezTo>
                  <a:pt x="146" y="189"/>
                  <a:pt x="133" y="189"/>
                  <a:pt x="122" y="184"/>
                </a:cubicBezTo>
                <a:cubicBezTo>
                  <a:pt x="110" y="180"/>
                  <a:pt x="101" y="171"/>
                  <a:pt x="96" y="158"/>
                </a:cubicBezTo>
                <a:cubicBezTo>
                  <a:pt x="91" y="146"/>
                  <a:pt x="91" y="133"/>
                  <a:pt x="95" y="122"/>
                </a:cubicBezTo>
                <a:cubicBezTo>
                  <a:pt x="100" y="110"/>
                  <a:pt x="109" y="101"/>
                  <a:pt x="121" y="96"/>
                </a:cubicBezTo>
                <a:cubicBezTo>
                  <a:pt x="133" y="91"/>
                  <a:pt x="146" y="91"/>
                  <a:pt x="158" y="95"/>
                </a:cubicBezTo>
                <a:cubicBezTo>
                  <a:pt x="169" y="100"/>
                  <a:pt x="179" y="109"/>
                  <a:pt x="184" y="121"/>
                </a:cubicBezTo>
                <a:cubicBezTo>
                  <a:pt x="189" y="133"/>
                  <a:pt x="189" y="146"/>
                  <a:pt x="184" y="15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93" name="Freeform 9"/>
          <p:cNvSpPr>
            <a:spLocks noChangeAspect="1"/>
          </p:cNvSpPr>
          <p:nvPr/>
        </p:nvSpPr>
        <p:spPr bwMode="auto">
          <a:xfrm>
            <a:off x="10855325" y="1473200"/>
            <a:ext cx="820738" cy="488950"/>
          </a:xfrm>
          <a:custGeom>
            <a:avLst/>
            <a:gdLst>
              <a:gd name="T0" fmla="*/ 2147483646 w 474"/>
              <a:gd name="T1" fmla="*/ 2147483646 h 295"/>
              <a:gd name="T2" fmla="*/ 2147483646 w 474"/>
              <a:gd name="T3" fmla="*/ 2147483646 h 295"/>
              <a:gd name="T4" fmla="*/ 2147483646 w 474"/>
              <a:gd name="T5" fmla="*/ 2147483646 h 295"/>
              <a:gd name="T6" fmla="*/ 2147483646 w 474"/>
              <a:gd name="T7" fmla="*/ 2147483646 h 295"/>
              <a:gd name="T8" fmla="*/ 2147483646 w 474"/>
              <a:gd name="T9" fmla="*/ 2147483646 h 295"/>
              <a:gd name="T10" fmla="*/ 2147483646 w 474"/>
              <a:gd name="T11" fmla="*/ 2147483646 h 295"/>
              <a:gd name="T12" fmla="*/ 2147483646 w 474"/>
              <a:gd name="T13" fmla="*/ 2147483646 h 295"/>
              <a:gd name="T14" fmla="*/ 2147483646 w 474"/>
              <a:gd name="T15" fmla="*/ 2147483646 h 295"/>
              <a:gd name="T16" fmla="*/ 2147483646 w 474"/>
              <a:gd name="T17" fmla="*/ 2147483646 h 295"/>
              <a:gd name="T18" fmla="*/ 2147483646 w 474"/>
              <a:gd name="T19" fmla="*/ 2147483646 h 295"/>
              <a:gd name="T20" fmla="*/ 2147483646 w 474"/>
              <a:gd name="T21" fmla="*/ 2147483646 h 295"/>
              <a:gd name="T22" fmla="*/ 2147483646 w 474"/>
              <a:gd name="T23" fmla="*/ 2147483646 h 295"/>
              <a:gd name="T24" fmla="*/ 2147483646 w 474"/>
              <a:gd name="T25" fmla="*/ 2147483646 h 295"/>
              <a:gd name="T26" fmla="*/ 2147483646 w 474"/>
              <a:gd name="T27" fmla="*/ 2147483646 h 295"/>
              <a:gd name="T28" fmla="*/ 2147483646 w 474"/>
              <a:gd name="T29" fmla="*/ 2147483646 h 295"/>
              <a:gd name="T30" fmla="*/ 2147483646 w 474"/>
              <a:gd name="T31" fmla="*/ 2147483646 h 295"/>
              <a:gd name="T32" fmla="*/ 2147483646 w 474"/>
              <a:gd name="T33" fmla="*/ 2147483646 h 295"/>
              <a:gd name="T34" fmla="*/ 2147483646 w 474"/>
              <a:gd name="T35" fmla="*/ 2147483646 h 295"/>
              <a:gd name="T36" fmla="*/ 2147483646 w 474"/>
              <a:gd name="T37" fmla="*/ 2147483646 h 295"/>
              <a:gd name="T38" fmla="*/ 2147483646 w 474"/>
              <a:gd name="T39" fmla="*/ 2147483646 h 295"/>
              <a:gd name="T40" fmla="*/ 2147483646 w 474"/>
              <a:gd name="T41" fmla="*/ 2147483646 h 295"/>
              <a:gd name="T42" fmla="*/ 2147483646 w 474"/>
              <a:gd name="T43" fmla="*/ 2147483646 h 295"/>
              <a:gd name="T44" fmla="*/ 2147483646 w 474"/>
              <a:gd name="T45" fmla="*/ 2147483646 h 295"/>
              <a:gd name="T46" fmla="*/ 2147483646 w 474"/>
              <a:gd name="T47" fmla="*/ 2147483646 h 295"/>
              <a:gd name="T48" fmla="*/ 2147483646 w 474"/>
              <a:gd name="T49" fmla="*/ 2147483646 h 295"/>
              <a:gd name="T50" fmla="*/ 2147483646 w 474"/>
              <a:gd name="T51" fmla="*/ 2147483646 h 295"/>
              <a:gd name="T52" fmla="*/ 2147483646 w 474"/>
              <a:gd name="T53" fmla="*/ 2147483646 h 295"/>
              <a:gd name="T54" fmla="*/ 2147483646 w 474"/>
              <a:gd name="T55" fmla="*/ 2147483646 h 295"/>
              <a:gd name="T56" fmla="*/ 2147483646 w 474"/>
              <a:gd name="T57" fmla="*/ 2147483646 h 295"/>
              <a:gd name="T58" fmla="*/ 2147483646 w 474"/>
              <a:gd name="T59" fmla="*/ 0 h 295"/>
              <a:gd name="T60" fmla="*/ 2147483646 w 474"/>
              <a:gd name="T61" fmla="*/ 2147483646 h 295"/>
              <a:gd name="T62" fmla="*/ 0 w 474"/>
              <a:gd name="T63" fmla="*/ 2147483646 h 295"/>
              <a:gd name="T64" fmla="*/ 2147483646 w 474"/>
              <a:gd name="T65" fmla="*/ 2147483646 h 295"/>
              <a:gd name="T66" fmla="*/ 2147483646 w 474"/>
              <a:gd name="T67" fmla="*/ 2147483646 h 295"/>
              <a:gd name="T68" fmla="*/ 2147483646 w 474"/>
              <a:gd name="T69" fmla="*/ 2147483646 h 295"/>
              <a:gd name="T70" fmla="*/ 2147483646 w 474"/>
              <a:gd name="T71" fmla="*/ 2147483646 h 295"/>
              <a:gd name="T72" fmla="*/ 2147483646 w 474"/>
              <a:gd name="T73" fmla="*/ 2147483646 h 295"/>
              <a:gd name="T74" fmla="*/ 2147483646 w 474"/>
              <a:gd name="T75" fmla="*/ 2147483646 h 295"/>
              <a:gd name="T76" fmla="*/ 2147483646 w 474"/>
              <a:gd name="T77" fmla="*/ 2147483646 h 295"/>
              <a:gd name="T78" fmla="*/ 2147483646 w 474"/>
              <a:gd name="T79" fmla="*/ 2147483646 h 295"/>
              <a:gd name="T80" fmla="*/ 2147483646 w 474"/>
              <a:gd name="T81" fmla="*/ 2147483646 h 295"/>
              <a:gd name="T82" fmla="*/ 2147483646 w 474"/>
              <a:gd name="T83" fmla="*/ 2147483646 h 295"/>
              <a:gd name="T84" fmla="*/ 2147483646 w 474"/>
              <a:gd name="T85" fmla="*/ 2147483646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94" name="Freeform 9"/>
          <p:cNvSpPr>
            <a:spLocks noChangeAspect="1"/>
          </p:cNvSpPr>
          <p:nvPr/>
        </p:nvSpPr>
        <p:spPr bwMode="auto">
          <a:xfrm>
            <a:off x="10855325" y="2211388"/>
            <a:ext cx="820738" cy="488950"/>
          </a:xfrm>
          <a:custGeom>
            <a:avLst/>
            <a:gdLst>
              <a:gd name="T0" fmla="*/ 2147483646 w 474"/>
              <a:gd name="T1" fmla="*/ 2147483646 h 295"/>
              <a:gd name="T2" fmla="*/ 2147483646 w 474"/>
              <a:gd name="T3" fmla="*/ 2147483646 h 295"/>
              <a:gd name="T4" fmla="*/ 2147483646 w 474"/>
              <a:gd name="T5" fmla="*/ 2147483646 h 295"/>
              <a:gd name="T6" fmla="*/ 2147483646 w 474"/>
              <a:gd name="T7" fmla="*/ 2147483646 h 295"/>
              <a:gd name="T8" fmla="*/ 2147483646 w 474"/>
              <a:gd name="T9" fmla="*/ 2147483646 h 295"/>
              <a:gd name="T10" fmla="*/ 2147483646 w 474"/>
              <a:gd name="T11" fmla="*/ 2147483646 h 295"/>
              <a:gd name="T12" fmla="*/ 2147483646 w 474"/>
              <a:gd name="T13" fmla="*/ 2147483646 h 295"/>
              <a:gd name="T14" fmla="*/ 2147483646 w 474"/>
              <a:gd name="T15" fmla="*/ 2147483646 h 295"/>
              <a:gd name="T16" fmla="*/ 2147483646 w 474"/>
              <a:gd name="T17" fmla="*/ 2147483646 h 295"/>
              <a:gd name="T18" fmla="*/ 2147483646 w 474"/>
              <a:gd name="T19" fmla="*/ 2147483646 h 295"/>
              <a:gd name="T20" fmla="*/ 2147483646 w 474"/>
              <a:gd name="T21" fmla="*/ 2147483646 h 295"/>
              <a:gd name="T22" fmla="*/ 2147483646 w 474"/>
              <a:gd name="T23" fmla="*/ 2147483646 h 295"/>
              <a:gd name="T24" fmla="*/ 2147483646 w 474"/>
              <a:gd name="T25" fmla="*/ 2147483646 h 295"/>
              <a:gd name="T26" fmla="*/ 2147483646 w 474"/>
              <a:gd name="T27" fmla="*/ 2147483646 h 295"/>
              <a:gd name="T28" fmla="*/ 2147483646 w 474"/>
              <a:gd name="T29" fmla="*/ 2147483646 h 295"/>
              <a:gd name="T30" fmla="*/ 2147483646 w 474"/>
              <a:gd name="T31" fmla="*/ 2147483646 h 295"/>
              <a:gd name="T32" fmla="*/ 2147483646 w 474"/>
              <a:gd name="T33" fmla="*/ 2147483646 h 295"/>
              <a:gd name="T34" fmla="*/ 2147483646 w 474"/>
              <a:gd name="T35" fmla="*/ 2147483646 h 295"/>
              <a:gd name="T36" fmla="*/ 2147483646 w 474"/>
              <a:gd name="T37" fmla="*/ 2147483646 h 295"/>
              <a:gd name="T38" fmla="*/ 2147483646 w 474"/>
              <a:gd name="T39" fmla="*/ 2147483646 h 295"/>
              <a:gd name="T40" fmla="*/ 2147483646 w 474"/>
              <a:gd name="T41" fmla="*/ 2147483646 h 295"/>
              <a:gd name="T42" fmla="*/ 2147483646 w 474"/>
              <a:gd name="T43" fmla="*/ 2147483646 h 295"/>
              <a:gd name="T44" fmla="*/ 2147483646 w 474"/>
              <a:gd name="T45" fmla="*/ 2147483646 h 295"/>
              <a:gd name="T46" fmla="*/ 2147483646 w 474"/>
              <a:gd name="T47" fmla="*/ 2147483646 h 295"/>
              <a:gd name="T48" fmla="*/ 2147483646 w 474"/>
              <a:gd name="T49" fmla="*/ 2147483646 h 295"/>
              <a:gd name="T50" fmla="*/ 2147483646 w 474"/>
              <a:gd name="T51" fmla="*/ 2147483646 h 295"/>
              <a:gd name="T52" fmla="*/ 2147483646 w 474"/>
              <a:gd name="T53" fmla="*/ 2147483646 h 295"/>
              <a:gd name="T54" fmla="*/ 2147483646 w 474"/>
              <a:gd name="T55" fmla="*/ 2147483646 h 295"/>
              <a:gd name="T56" fmla="*/ 2147483646 w 474"/>
              <a:gd name="T57" fmla="*/ 2147483646 h 295"/>
              <a:gd name="T58" fmla="*/ 2147483646 w 474"/>
              <a:gd name="T59" fmla="*/ 0 h 295"/>
              <a:gd name="T60" fmla="*/ 2147483646 w 474"/>
              <a:gd name="T61" fmla="*/ 2147483646 h 295"/>
              <a:gd name="T62" fmla="*/ 0 w 474"/>
              <a:gd name="T63" fmla="*/ 2147483646 h 295"/>
              <a:gd name="T64" fmla="*/ 2147483646 w 474"/>
              <a:gd name="T65" fmla="*/ 2147483646 h 295"/>
              <a:gd name="T66" fmla="*/ 2147483646 w 474"/>
              <a:gd name="T67" fmla="*/ 2147483646 h 295"/>
              <a:gd name="T68" fmla="*/ 2147483646 w 474"/>
              <a:gd name="T69" fmla="*/ 2147483646 h 295"/>
              <a:gd name="T70" fmla="*/ 2147483646 w 474"/>
              <a:gd name="T71" fmla="*/ 2147483646 h 295"/>
              <a:gd name="T72" fmla="*/ 2147483646 w 474"/>
              <a:gd name="T73" fmla="*/ 2147483646 h 295"/>
              <a:gd name="T74" fmla="*/ 2147483646 w 474"/>
              <a:gd name="T75" fmla="*/ 2147483646 h 295"/>
              <a:gd name="T76" fmla="*/ 2147483646 w 474"/>
              <a:gd name="T77" fmla="*/ 2147483646 h 295"/>
              <a:gd name="T78" fmla="*/ 2147483646 w 474"/>
              <a:gd name="T79" fmla="*/ 2147483646 h 295"/>
              <a:gd name="T80" fmla="*/ 2147483646 w 474"/>
              <a:gd name="T81" fmla="*/ 2147483646 h 295"/>
              <a:gd name="T82" fmla="*/ 2147483646 w 474"/>
              <a:gd name="T83" fmla="*/ 2147483646 h 295"/>
              <a:gd name="T84" fmla="*/ 2147483646 w 474"/>
              <a:gd name="T85" fmla="*/ 2147483646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95" name="Freeform 9"/>
          <p:cNvSpPr>
            <a:spLocks noChangeAspect="1"/>
          </p:cNvSpPr>
          <p:nvPr/>
        </p:nvSpPr>
        <p:spPr bwMode="auto">
          <a:xfrm>
            <a:off x="10855325" y="2949575"/>
            <a:ext cx="820738" cy="488950"/>
          </a:xfrm>
          <a:custGeom>
            <a:avLst/>
            <a:gdLst>
              <a:gd name="T0" fmla="*/ 2147483646 w 474"/>
              <a:gd name="T1" fmla="*/ 2147483646 h 295"/>
              <a:gd name="T2" fmla="*/ 2147483646 w 474"/>
              <a:gd name="T3" fmla="*/ 2147483646 h 295"/>
              <a:gd name="T4" fmla="*/ 2147483646 w 474"/>
              <a:gd name="T5" fmla="*/ 2147483646 h 295"/>
              <a:gd name="T6" fmla="*/ 2147483646 w 474"/>
              <a:gd name="T7" fmla="*/ 2147483646 h 295"/>
              <a:gd name="T8" fmla="*/ 2147483646 w 474"/>
              <a:gd name="T9" fmla="*/ 2147483646 h 295"/>
              <a:gd name="T10" fmla="*/ 2147483646 w 474"/>
              <a:gd name="T11" fmla="*/ 2147483646 h 295"/>
              <a:gd name="T12" fmla="*/ 2147483646 w 474"/>
              <a:gd name="T13" fmla="*/ 2147483646 h 295"/>
              <a:gd name="T14" fmla="*/ 2147483646 w 474"/>
              <a:gd name="T15" fmla="*/ 2147483646 h 295"/>
              <a:gd name="T16" fmla="*/ 2147483646 w 474"/>
              <a:gd name="T17" fmla="*/ 2147483646 h 295"/>
              <a:gd name="T18" fmla="*/ 2147483646 w 474"/>
              <a:gd name="T19" fmla="*/ 2147483646 h 295"/>
              <a:gd name="T20" fmla="*/ 2147483646 w 474"/>
              <a:gd name="T21" fmla="*/ 2147483646 h 295"/>
              <a:gd name="T22" fmla="*/ 2147483646 w 474"/>
              <a:gd name="T23" fmla="*/ 2147483646 h 295"/>
              <a:gd name="T24" fmla="*/ 2147483646 w 474"/>
              <a:gd name="T25" fmla="*/ 2147483646 h 295"/>
              <a:gd name="T26" fmla="*/ 2147483646 w 474"/>
              <a:gd name="T27" fmla="*/ 2147483646 h 295"/>
              <a:gd name="T28" fmla="*/ 2147483646 w 474"/>
              <a:gd name="T29" fmla="*/ 2147483646 h 295"/>
              <a:gd name="T30" fmla="*/ 2147483646 w 474"/>
              <a:gd name="T31" fmla="*/ 2147483646 h 295"/>
              <a:gd name="T32" fmla="*/ 2147483646 w 474"/>
              <a:gd name="T33" fmla="*/ 2147483646 h 295"/>
              <a:gd name="T34" fmla="*/ 2147483646 w 474"/>
              <a:gd name="T35" fmla="*/ 2147483646 h 295"/>
              <a:gd name="T36" fmla="*/ 2147483646 w 474"/>
              <a:gd name="T37" fmla="*/ 2147483646 h 295"/>
              <a:gd name="T38" fmla="*/ 2147483646 w 474"/>
              <a:gd name="T39" fmla="*/ 2147483646 h 295"/>
              <a:gd name="T40" fmla="*/ 2147483646 w 474"/>
              <a:gd name="T41" fmla="*/ 2147483646 h 295"/>
              <a:gd name="T42" fmla="*/ 2147483646 w 474"/>
              <a:gd name="T43" fmla="*/ 2147483646 h 295"/>
              <a:gd name="T44" fmla="*/ 2147483646 w 474"/>
              <a:gd name="T45" fmla="*/ 2147483646 h 295"/>
              <a:gd name="T46" fmla="*/ 2147483646 w 474"/>
              <a:gd name="T47" fmla="*/ 2147483646 h 295"/>
              <a:gd name="T48" fmla="*/ 2147483646 w 474"/>
              <a:gd name="T49" fmla="*/ 2147483646 h 295"/>
              <a:gd name="T50" fmla="*/ 2147483646 w 474"/>
              <a:gd name="T51" fmla="*/ 2147483646 h 295"/>
              <a:gd name="T52" fmla="*/ 2147483646 w 474"/>
              <a:gd name="T53" fmla="*/ 2147483646 h 295"/>
              <a:gd name="T54" fmla="*/ 2147483646 w 474"/>
              <a:gd name="T55" fmla="*/ 2147483646 h 295"/>
              <a:gd name="T56" fmla="*/ 2147483646 w 474"/>
              <a:gd name="T57" fmla="*/ 2147483646 h 295"/>
              <a:gd name="T58" fmla="*/ 2147483646 w 474"/>
              <a:gd name="T59" fmla="*/ 0 h 295"/>
              <a:gd name="T60" fmla="*/ 2147483646 w 474"/>
              <a:gd name="T61" fmla="*/ 2147483646 h 295"/>
              <a:gd name="T62" fmla="*/ 0 w 474"/>
              <a:gd name="T63" fmla="*/ 2147483646 h 295"/>
              <a:gd name="T64" fmla="*/ 2147483646 w 474"/>
              <a:gd name="T65" fmla="*/ 2147483646 h 295"/>
              <a:gd name="T66" fmla="*/ 2147483646 w 474"/>
              <a:gd name="T67" fmla="*/ 2147483646 h 295"/>
              <a:gd name="T68" fmla="*/ 2147483646 w 474"/>
              <a:gd name="T69" fmla="*/ 2147483646 h 295"/>
              <a:gd name="T70" fmla="*/ 2147483646 w 474"/>
              <a:gd name="T71" fmla="*/ 2147483646 h 295"/>
              <a:gd name="T72" fmla="*/ 2147483646 w 474"/>
              <a:gd name="T73" fmla="*/ 2147483646 h 295"/>
              <a:gd name="T74" fmla="*/ 2147483646 w 474"/>
              <a:gd name="T75" fmla="*/ 2147483646 h 295"/>
              <a:gd name="T76" fmla="*/ 2147483646 w 474"/>
              <a:gd name="T77" fmla="*/ 2147483646 h 295"/>
              <a:gd name="T78" fmla="*/ 2147483646 w 474"/>
              <a:gd name="T79" fmla="*/ 2147483646 h 295"/>
              <a:gd name="T80" fmla="*/ 2147483646 w 474"/>
              <a:gd name="T81" fmla="*/ 2147483646 h 295"/>
              <a:gd name="T82" fmla="*/ 2147483646 w 474"/>
              <a:gd name="T83" fmla="*/ 2147483646 h 295"/>
              <a:gd name="T84" fmla="*/ 2147483646 w 474"/>
              <a:gd name="T85" fmla="*/ 2147483646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96" name="Freeform 9"/>
          <p:cNvSpPr>
            <a:spLocks noChangeAspect="1"/>
          </p:cNvSpPr>
          <p:nvPr/>
        </p:nvSpPr>
        <p:spPr bwMode="auto">
          <a:xfrm>
            <a:off x="10855325" y="3689350"/>
            <a:ext cx="820738" cy="488950"/>
          </a:xfrm>
          <a:custGeom>
            <a:avLst/>
            <a:gdLst>
              <a:gd name="T0" fmla="*/ 2147483646 w 474"/>
              <a:gd name="T1" fmla="*/ 2147483646 h 295"/>
              <a:gd name="T2" fmla="*/ 2147483646 w 474"/>
              <a:gd name="T3" fmla="*/ 2147483646 h 295"/>
              <a:gd name="T4" fmla="*/ 2147483646 w 474"/>
              <a:gd name="T5" fmla="*/ 2147483646 h 295"/>
              <a:gd name="T6" fmla="*/ 2147483646 w 474"/>
              <a:gd name="T7" fmla="*/ 2147483646 h 295"/>
              <a:gd name="T8" fmla="*/ 2147483646 w 474"/>
              <a:gd name="T9" fmla="*/ 2147483646 h 295"/>
              <a:gd name="T10" fmla="*/ 2147483646 w 474"/>
              <a:gd name="T11" fmla="*/ 2147483646 h 295"/>
              <a:gd name="T12" fmla="*/ 2147483646 w 474"/>
              <a:gd name="T13" fmla="*/ 2147483646 h 295"/>
              <a:gd name="T14" fmla="*/ 2147483646 w 474"/>
              <a:gd name="T15" fmla="*/ 2147483646 h 295"/>
              <a:gd name="T16" fmla="*/ 2147483646 w 474"/>
              <a:gd name="T17" fmla="*/ 2147483646 h 295"/>
              <a:gd name="T18" fmla="*/ 2147483646 w 474"/>
              <a:gd name="T19" fmla="*/ 2147483646 h 295"/>
              <a:gd name="T20" fmla="*/ 2147483646 w 474"/>
              <a:gd name="T21" fmla="*/ 2147483646 h 295"/>
              <a:gd name="T22" fmla="*/ 2147483646 w 474"/>
              <a:gd name="T23" fmla="*/ 2147483646 h 295"/>
              <a:gd name="T24" fmla="*/ 2147483646 w 474"/>
              <a:gd name="T25" fmla="*/ 2147483646 h 295"/>
              <a:gd name="T26" fmla="*/ 2147483646 w 474"/>
              <a:gd name="T27" fmla="*/ 2147483646 h 295"/>
              <a:gd name="T28" fmla="*/ 2147483646 w 474"/>
              <a:gd name="T29" fmla="*/ 2147483646 h 295"/>
              <a:gd name="T30" fmla="*/ 2147483646 w 474"/>
              <a:gd name="T31" fmla="*/ 2147483646 h 295"/>
              <a:gd name="T32" fmla="*/ 2147483646 w 474"/>
              <a:gd name="T33" fmla="*/ 2147483646 h 295"/>
              <a:gd name="T34" fmla="*/ 2147483646 w 474"/>
              <a:gd name="T35" fmla="*/ 2147483646 h 295"/>
              <a:gd name="T36" fmla="*/ 2147483646 w 474"/>
              <a:gd name="T37" fmla="*/ 2147483646 h 295"/>
              <a:gd name="T38" fmla="*/ 2147483646 w 474"/>
              <a:gd name="T39" fmla="*/ 2147483646 h 295"/>
              <a:gd name="T40" fmla="*/ 2147483646 w 474"/>
              <a:gd name="T41" fmla="*/ 2147483646 h 295"/>
              <a:gd name="T42" fmla="*/ 2147483646 w 474"/>
              <a:gd name="T43" fmla="*/ 2147483646 h 295"/>
              <a:gd name="T44" fmla="*/ 2147483646 w 474"/>
              <a:gd name="T45" fmla="*/ 2147483646 h 295"/>
              <a:gd name="T46" fmla="*/ 2147483646 w 474"/>
              <a:gd name="T47" fmla="*/ 2147483646 h 295"/>
              <a:gd name="T48" fmla="*/ 2147483646 w 474"/>
              <a:gd name="T49" fmla="*/ 2147483646 h 295"/>
              <a:gd name="T50" fmla="*/ 2147483646 w 474"/>
              <a:gd name="T51" fmla="*/ 2147483646 h 295"/>
              <a:gd name="T52" fmla="*/ 2147483646 w 474"/>
              <a:gd name="T53" fmla="*/ 2147483646 h 295"/>
              <a:gd name="T54" fmla="*/ 2147483646 w 474"/>
              <a:gd name="T55" fmla="*/ 2147483646 h 295"/>
              <a:gd name="T56" fmla="*/ 2147483646 w 474"/>
              <a:gd name="T57" fmla="*/ 2147483646 h 295"/>
              <a:gd name="T58" fmla="*/ 2147483646 w 474"/>
              <a:gd name="T59" fmla="*/ 0 h 295"/>
              <a:gd name="T60" fmla="*/ 2147483646 w 474"/>
              <a:gd name="T61" fmla="*/ 2147483646 h 295"/>
              <a:gd name="T62" fmla="*/ 0 w 474"/>
              <a:gd name="T63" fmla="*/ 2147483646 h 295"/>
              <a:gd name="T64" fmla="*/ 2147483646 w 474"/>
              <a:gd name="T65" fmla="*/ 2147483646 h 295"/>
              <a:gd name="T66" fmla="*/ 2147483646 w 474"/>
              <a:gd name="T67" fmla="*/ 2147483646 h 295"/>
              <a:gd name="T68" fmla="*/ 2147483646 w 474"/>
              <a:gd name="T69" fmla="*/ 2147483646 h 295"/>
              <a:gd name="T70" fmla="*/ 2147483646 w 474"/>
              <a:gd name="T71" fmla="*/ 2147483646 h 295"/>
              <a:gd name="T72" fmla="*/ 2147483646 w 474"/>
              <a:gd name="T73" fmla="*/ 2147483646 h 295"/>
              <a:gd name="T74" fmla="*/ 2147483646 w 474"/>
              <a:gd name="T75" fmla="*/ 2147483646 h 295"/>
              <a:gd name="T76" fmla="*/ 2147483646 w 474"/>
              <a:gd name="T77" fmla="*/ 2147483646 h 295"/>
              <a:gd name="T78" fmla="*/ 2147483646 w 474"/>
              <a:gd name="T79" fmla="*/ 2147483646 h 295"/>
              <a:gd name="T80" fmla="*/ 2147483646 w 474"/>
              <a:gd name="T81" fmla="*/ 2147483646 h 295"/>
              <a:gd name="T82" fmla="*/ 2147483646 w 474"/>
              <a:gd name="T83" fmla="*/ 2147483646 h 295"/>
              <a:gd name="T84" fmla="*/ 2147483646 w 474"/>
              <a:gd name="T85" fmla="*/ 2147483646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97" name="Freeform 9"/>
          <p:cNvSpPr>
            <a:spLocks noChangeAspect="1"/>
          </p:cNvSpPr>
          <p:nvPr/>
        </p:nvSpPr>
        <p:spPr bwMode="auto">
          <a:xfrm>
            <a:off x="10855325" y="4427538"/>
            <a:ext cx="820738" cy="488950"/>
          </a:xfrm>
          <a:custGeom>
            <a:avLst/>
            <a:gdLst>
              <a:gd name="T0" fmla="*/ 2147483646 w 474"/>
              <a:gd name="T1" fmla="*/ 2147483646 h 295"/>
              <a:gd name="T2" fmla="*/ 2147483646 w 474"/>
              <a:gd name="T3" fmla="*/ 2147483646 h 295"/>
              <a:gd name="T4" fmla="*/ 2147483646 w 474"/>
              <a:gd name="T5" fmla="*/ 2147483646 h 295"/>
              <a:gd name="T6" fmla="*/ 2147483646 w 474"/>
              <a:gd name="T7" fmla="*/ 2147483646 h 295"/>
              <a:gd name="T8" fmla="*/ 2147483646 w 474"/>
              <a:gd name="T9" fmla="*/ 2147483646 h 295"/>
              <a:gd name="T10" fmla="*/ 2147483646 w 474"/>
              <a:gd name="T11" fmla="*/ 2147483646 h 295"/>
              <a:gd name="T12" fmla="*/ 2147483646 w 474"/>
              <a:gd name="T13" fmla="*/ 2147483646 h 295"/>
              <a:gd name="T14" fmla="*/ 2147483646 w 474"/>
              <a:gd name="T15" fmla="*/ 2147483646 h 295"/>
              <a:gd name="T16" fmla="*/ 2147483646 w 474"/>
              <a:gd name="T17" fmla="*/ 2147483646 h 295"/>
              <a:gd name="T18" fmla="*/ 2147483646 w 474"/>
              <a:gd name="T19" fmla="*/ 2147483646 h 295"/>
              <a:gd name="T20" fmla="*/ 2147483646 w 474"/>
              <a:gd name="T21" fmla="*/ 2147483646 h 295"/>
              <a:gd name="T22" fmla="*/ 2147483646 w 474"/>
              <a:gd name="T23" fmla="*/ 2147483646 h 295"/>
              <a:gd name="T24" fmla="*/ 2147483646 w 474"/>
              <a:gd name="T25" fmla="*/ 2147483646 h 295"/>
              <a:gd name="T26" fmla="*/ 2147483646 w 474"/>
              <a:gd name="T27" fmla="*/ 2147483646 h 295"/>
              <a:gd name="T28" fmla="*/ 2147483646 w 474"/>
              <a:gd name="T29" fmla="*/ 2147483646 h 295"/>
              <a:gd name="T30" fmla="*/ 2147483646 w 474"/>
              <a:gd name="T31" fmla="*/ 2147483646 h 295"/>
              <a:gd name="T32" fmla="*/ 2147483646 w 474"/>
              <a:gd name="T33" fmla="*/ 2147483646 h 295"/>
              <a:gd name="T34" fmla="*/ 2147483646 w 474"/>
              <a:gd name="T35" fmla="*/ 2147483646 h 295"/>
              <a:gd name="T36" fmla="*/ 2147483646 w 474"/>
              <a:gd name="T37" fmla="*/ 2147483646 h 295"/>
              <a:gd name="T38" fmla="*/ 2147483646 w 474"/>
              <a:gd name="T39" fmla="*/ 2147483646 h 295"/>
              <a:gd name="T40" fmla="*/ 2147483646 w 474"/>
              <a:gd name="T41" fmla="*/ 2147483646 h 295"/>
              <a:gd name="T42" fmla="*/ 2147483646 w 474"/>
              <a:gd name="T43" fmla="*/ 2147483646 h 295"/>
              <a:gd name="T44" fmla="*/ 2147483646 w 474"/>
              <a:gd name="T45" fmla="*/ 2147483646 h 295"/>
              <a:gd name="T46" fmla="*/ 2147483646 w 474"/>
              <a:gd name="T47" fmla="*/ 2147483646 h 295"/>
              <a:gd name="T48" fmla="*/ 2147483646 w 474"/>
              <a:gd name="T49" fmla="*/ 2147483646 h 295"/>
              <a:gd name="T50" fmla="*/ 2147483646 w 474"/>
              <a:gd name="T51" fmla="*/ 2147483646 h 295"/>
              <a:gd name="T52" fmla="*/ 2147483646 w 474"/>
              <a:gd name="T53" fmla="*/ 2147483646 h 295"/>
              <a:gd name="T54" fmla="*/ 2147483646 w 474"/>
              <a:gd name="T55" fmla="*/ 2147483646 h 295"/>
              <a:gd name="T56" fmla="*/ 2147483646 w 474"/>
              <a:gd name="T57" fmla="*/ 2147483646 h 295"/>
              <a:gd name="T58" fmla="*/ 2147483646 w 474"/>
              <a:gd name="T59" fmla="*/ 0 h 295"/>
              <a:gd name="T60" fmla="*/ 2147483646 w 474"/>
              <a:gd name="T61" fmla="*/ 2147483646 h 295"/>
              <a:gd name="T62" fmla="*/ 0 w 474"/>
              <a:gd name="T63" fmla="*/ 2147483646 h 295"/>
              <a:gd name="T64" fmla="*/ 2147483646 w 474"/>
              <a:gd name="T65" fmla="*/ 2147483646 h 295"/>
              <a:gd name="T66" fmla="*/ 2147483646 w 474"/>
              <a:gd name="T67" fmla="*/ 2147483646 h 295"/>
              <a:gd name="T68" fmla="*/ 2147483646 w 474"/>
              <a:gd name="T69" fmla="*/ 2147483646 h 295"/>
              <a:gd name="T70" fmla="*/ 2147483646 w 474"/>
              <a:gd name="T71" fmla="*/ 2147483646 h 295"/>
              <a:gd name="T72" fmla="*/ 2147483646 w 474"/>
              <a:gd name="T73" fmla="*/ 2147483646 h 295"/>
              <a:gd name="T74" fmla="*/ 2147483646 w 474"/>
              <a:gd name="T75" fmla="*/ 2147483646 h 295"/>
              <a:gd name="T76" fmla="*/ 2147483646 w 474"/>
              <a:gd name="T77" fmla="*/ 2147483646 h 295"/>
              <a:gd name="T78" fmla="*/ 2147483646 w 474"/>
              <a:gd name="T79" fmla="*/ 2147483646 h 295"/>
              <a:gd name="T80" fmla="*/ 2147483646 w 474"/>
              <a:gd name="T81" fmla="*/ 2147483646 h 295"/>
              <a:gd name="T82" fmla="*/ 2147483646 w 474"/>
              <a:gd name="T83" fmla="*/ 2147483646 h 295"/>
              <a:gd name="T84" fmla="*/ 2147483646 w 474"/>
              <a:gd name="T85" fmla="*/ 2147483646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398" name="Freeform 9"/>
          <p:cNvSpPr>
            <a:spLocks noChangeAspect="1"/>
          </p:cNvSpPr>
          <p:nvPr/>
        </p:nvSpPr>
        <p:spPr bwMode="auto">
          <a:xfrm>
            <a:off x="10855325" y="5165725"/>
            <a:ext cx="820738" cy="488950"/>
          </a:xfrm>
          <a:custGeom>
            <a:avLst/>
            <a:gdLst>
              <a:gd name="T0" fmla="*/ 2147483646 w 474"/>
              <a:gd name="T1" fmla="*/ 2147483646 h 295"/>
              <a:gd name="T2" fmla="*/ 2147483646 w 474"/>
              <a:gd name="T3" fmla="*/ 2147483646 h 295"/>
              <a:gd name="T4" fmla="*/ 2147483646 w 474"/>
              <a:gd name="T5" fmla="*/ 2147483646 h 295"/>
              <a:gd name="T6" fmla="*/ 2147483646 w 474"/>
              <a:gd name="T7" fmla="*/ 2147483646 h 295"/>
              <a:gd name="T8" fmla="*/ 2147483646 w 474"/>
              <a:gd name="T9" fmla="*/ 2147483646 h 295"/>
              <a:gd name="T10" fmla="*/ 2147483646 w 474"/>
              <a:gd name="T11" fmla="*/ 2147483646 h 295"/>
              <a:gd name="T12" fmla="*/ 2147483646 w 474"/>
              <a:gd name="T13" fmla="*/ 2147483646 h 295"/>
              <a:gd name="T14" fmla="*/ 2147483646 w 474"/>
              <a:gd name="T15" fmla="*/ 2147483646 h 295"/>
              <a:gd name="T16" fmla="*/ 2147483646 w 474"/>
              <a:gd name="T17" fmla="*/ 2147483646 h 295"/>
              <a:gd name="T18" fmla="*/ 2147483646 w 474"/>
              <a:gd name="T19" fmla="*/ 2147483646 h 295"/>
              <a:gd name="T20" fmla="*/ 2147483646 w 474"/>
              <a:gd name="T21" fmla="*/ 2147483646 h 295"/>
              <a:gd name="T22" fmla="*/ 2147483646 w 474"/>
              <a:gd name="T23" fmla="*/ 2147483646 h 295"/>
              <a:gd name="T24" fmla="*/ 2147483646 w 474"/>
              <a:gd name="T25" fmla="*/ 2147483646 h 295"/>
              <a:gd name="T26" fmla="*/ 2147483646 w 474"/>
              <a:gd name="T27" fmla="*/ 2147483646 h 295"/>
              <a:gd name="T28" fmla="*/ 2147483646 w 474"/>
              <a:gd name="T29" fmla="*/ 2147483646 h 295"/>
              <a:gd name="T30" fmla="*/ 2147483646 w 474"/>
              <a:gd name="T31" fmla="*/ 2147483646 h 295"/>
              <a:gd name="T32" fmla="*/ 2147483646 w 474"/>
              <a:gd name="T33" fmla="*/ 2147483646 h 295"/>
              <a:gd name="T34" fmla="*/ 2147483646 w 474"/>
              <a:gd name="T35" fmla="*/ 2147483646 h 295"/>
              <a:gd name="T36" fmla="*/ 2147483646 w 474"/>
              <a:gd name="T37" fmla="*/ 2147483646 h 295"/>
              <a:gd name="T38" fmla="*/ 2147483646 w 474"/>
              <a:gd name="T39" fmla="*/ 2147483646 h 295"/>
              <a:gd name="T40" fmla="*/ 2147483646 w 474"/>
              <a:gd name="T41" fmla="*/ 2147483646 h 295"/>
              <a:gd name="T42" fmla="*/ 2147483646 w 474"/>
              <a:gd name="T43" fmla="*/ 2147483646 h 295"/>
              <a:gd name="T44" fmla="*/ 2147483646 w 474"/>
              <a:gd name="T45" fmla="*/ 2147483646 h 295"/>
              <a:gd name="T46" fmla="*/ 2147483646 w 474"/>
              <a:gd name="T47" fmla="*/ 2147483646 h 295"/>
              <a:gd name="T48" fmla="*/ 2147483646 w 474"/>
              <a:gd name="T49" fmla="*/ 2147483646 h 295"/>
              <a:gd name="T50" fmla="*/ 2147483646 w 474"/>
              <a:gd name="T51" fmla="*/ 2147483646 h 295"/>
              <a:gd name="T52" fmla="*/ 2147483646 w 474"/>
              <a:gd name="T53" fmla="*/ 2147483646 h 295"/>
              <a:gd name="T54" fmla="*/ 2147483646 w 474"/>
              <a:gd name="T55" fmla="*/ 2147483646 h 295"/>
              <a:gd name="T56" fmla="*/ 2147483646 w 474"/>
              <a:gd name="T57" fmla="*/ 2147483646 h 295"/>
              <a:gd name="T58" fmla="*/ 2147483646 w 474"/>
              <a:gd name="T59" fmla="*/ 0 h 295"/>
              <a:gd name="T60" fmla="*/ 2147483646 w 474"/>
              <a:gd name="T61" fmla="*/ 2147483646 h 295"/>
              <a:gd name="T62" fmla="*/ 0 w 474"/>
              <a:gd name="T63" fmla="*/ 2147483646 h 295"/>
              <a:gd name="T64" fmla="*/ 2147483646 w 474"/>
              <a:gd name="T65" fmla="*/ 2147483646 h 295"/>
              <a:gd name="T66" fmla="*/ 2147483646 w 474"/>
              <a:gd name="T67" fmla="*/ 2147483646 h 295"/>
              <a:gd name="T68" fmla="*/ 2147483646 w 474"/>
              <a:gd name="T69" fmla="*/ 2147483646 h 295"/>
              <a:gd name="T70" fmla="*/ 2147483646 w 474"/>
              <a:gd name="T71" fmla="*/ 2147483646 h 295"/>
              <a:gd name="T72" fmla="*/ 2147483646 w 474"/>
              <a:gd name="T73" fmla="*/ 2147483646 h 295"/>
              <a:gd name="T74" fmla="*/ 2147483646 w 474"/>
              <a:gd name="T75" fmla="*/ 2147483646 h 295"/>
              <a:gd name="T76" fmla="*/ 2147483646 w 474"/>
              <a:gd name="T77" fmla="*/ 2147483646 h 295"/>
              <a:gd name="T78" fmla="*/ 2147483646 w 474"/>
              <a:gd name="T79" fmla="*/ 2147483646 h 295"/>
              <a:gd name="T80" fmla="*/ 2147483646 w 474"/>
              <a:gd name="T81" fmla="*/ 2147483646 h 295"/>
              <a:gd name="T82" fmla="*/ 2147483646 w 474"/>
              <a:gd name="T83" fmla="*/ 2147483646 h 295"/>
              <a:gd name="T84" fmla="*/ 2147483646 w 474"/>
              <a:gd name="T85" fmla="*/ 2147483646 h 2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474" h="295">
                <a:moveTo>
                  <a:pt x="454" y="182"/>
                </a:moveTo>
                <a:cubicBezTo>
                  <a:pt x="461" y="168"/>
                  <a:pt x="466" y="153"/>
                  <a:pt x="466" y="136"/>
                </a:cubicBezTo>
                <a:cubicBezTo>
                  <a:pt x="466" y="106"/>
                  <a:pt x="452" y="80"/>
                  <a:pt x="432" y="61"/>
                </a:cubicBezTo>
                <a:cubicBezTo>
                  <a:pt x="428" y="58"/>
                  <a:pt x="423" y="59"/>
                  <a:pt x="420" y="63"/>
                </a:cubicBezTo>
                <a:cubicBezTo>
                  <a:pt x="418" y="66"/>
                  <a:pt x="418" y="71"/>
                  <a:pt x="422" y="74"/>
                </a:cubicBezTo>
                <a:cubicBezTo>
                  <a:pt x="422" y="74"/>
                  <a:pt x="422" y="74"/>
                  <a:pt x="422" y="74"/>
                </a:cubicBezTo>
                <a:cubicBezTo>
                  <a:pt x="439" y="90"/>
                  <a:pt x="450" y="112"/>
                  <a:pt x="450" y="136"/>
                </a:cubicBezTo>
                <a:cubicBezTo>
                  <a:pt x="450" y="152"/>
                  <a:pt x="445" y="167"/>
                  <a:pt x="437" y="179"/>
                </a:cubicBezTo>
                <a:cubicBezTo>
                  <a:pt x="435" y="183"/>
                  <a:pt x="436" y="187"/>
                  <a:pt x="439" y="189"/>
                </a:cubicBezTo>
                <a:cubicBezTo>
                  <a:pt x="450" y="200"/>
                  <a:pt x="458" y="214"/>
                  <a:pt x="458" y="230"/>
                </a:cubicBezTo>
                <a:cubicBezTo>
                  <a:pt x="458" y="240"/>
                  <a:pt x="453" y="253"/>
                  <a:pt x="445" y="262"/>
                </a:cubicBezTo>
                <a:cubicBezTo>
                  <a:pt x="436" y="272"/>
                  <a:pt x="424" y="279"/>
                  <a:pt x="410" y="279"/>
                </a:cubicBezTo>
                <a:cubicBezTo>
                  <a:pt x="350" y="279"/>
                  <a:pt x="350" y="279"/>
                  <a:pt x="350" y="279"/>
                </a:cubicBezTo>
                <a:cubicBezTo>
                  <a:pt x="74" y="279"/>
                  <a:pt x="74" y="279"/>
                  <a:pt x="74" y="279"/>
                </a:cubicBezTo>
                <a:cubicBezTo>
                  <a:pt x="58" y="279"/>
                  <a:pt x="44" y="270"/>
                  <a:pt x="33" y="256"/>
                </a:cubicBezTo>
                <a:cubicBezTo>
                  <a:pt x="22" y="243"/>
                  <a:pt x="16" y="225"/>
                  <a:pt x="16" y="209"/>
                </a:cubicBezTo>
                <a:cubicBezTo>
                  <a:pt x="16" y="172"/>
                  <a:pt x="42" y="141"/>
                  <a:pt x="77" y="134"/>
                </a:cubicBezTo>
                <a:cubicBezTo>
                  <a:pt x="81" y="133"/>
                  <a:pt x="83" y="130"/>
                  <a:pt x="84" y="127"/>
                </a:cubicBezTo>
                <a:cubicBezTo>
                  <a:pt x="90" y="65"/>
                  <a:pt x="142" y="16"/>
                  <a:pt x="206" y="16"/>
                </a:cubicBezTo>
                <a:cubicBezTo>
                  <a:pt x="247" y="16"/>
                  <a:pt x="282" y="36"/>
                  <a:pt x="305" y="66"/>
                </a:cubicBezTo>
                <a:cubicBezTo>
                  <a:pt x="308" y="70"/>
                  <a:pt x="313" y="70"/>
                  <a:pt x="316" y="68"/>
                </a:cubicBezTo>
                <a:cubicBezTo>
                  <a:pt x="330" y="58"/>
                  <a:pt x="347" y="52"/>
                  <a:pt x="365" y="52"/>
                </a:cubicBezTo>
                <a:cubicBezTo>
                  <a:pt x="376" y="52"/>
                  <a:pt x="386" y="54"/>
                  <a:pt x="395" y="57"/>
                </a:cubicBezTo>
                <a:cubicBezTo>
                  <a:pt x="395" y="57"/>
                  <a:pt x="396" y="58"/>
                  <a:pt x="396" y="58"/>
                </a:cubicBezTo>
                <a:cubicBezTo>
                  <a:pt x="400" y="59"/>
                  <a:pt x="405" y="58"/>
                  <a:pt x="406" y="54"/>
                </a:cubicBezTo>
                <a:cubicBezTo>
                  <a:pt x="407" y="52"/>
                  <a:pt x="407" y="51"/>
                  <a:pt x="407" y="49"/>
                </a:cubicBezTo>
                <a:cubicBezTo>
                  <a:pt x="407" y="47"/>
                  <a:pt x="405" y="44"/>
                  <a:pt x="403" y="43"/>
                </a:cubicBezTo>
                <a:cubicBezTo>
                  <a:pt x="391" y="38"/>
                  <a:pt x="378" y="36"/>
                  <a:pt x="365" y="36"/>
                </a:cubicBezTo>
                <a:cubicBezTo>
                  <a:pt x="346" y="36"/>
                  <a:pt x="328" y="41"/>
                  <a:pt x="313" y="51"/>
                </a:cubicBezTo>
                <a:cubicBezTo>
                  <a:pt x="288" y="20"/>
                  <a:pt x="249" y="0"/>
                  <a:pt x="206" y="0"/>
                </a:cubicBezTo>
                <a:cubicBezTo>
                  <a:pt x="136" y="0"/>
                  <a:pt x="78" y="52"/>
                  <a:pt x="68" y="120"/>
                </a:cubicBezTo>
                <a:cubicBezTo>
                  <a:pt x="29" y="130"/>
                  <a:pt x="0" y="166"/>
                  <a:pt x="0" y="209"/>
                </a:cubicBezTo>
                <a:cubicBezTo>
                  <a:pt x="0" y="229"/>
                  <a:pt x="7" y="250"/>
                  <a:pt x="20" y="266"/>
                </a:cubicBezTo>
                <a:cubicBezTo>
                  <a:pt x="33" y="283"/>
                  <a:pt x="52" y="295"/>
                  <a:pt x="74" y="295"/>
                </a:cubicBezTo>
                <a:cubicBezTo>
                  <a:pt x="350" y="295"/>
                  <a:pt x="350" y="295"/>
                  <a:pt x="350" y="295"/>
                </a:cubicBezTo>
                <a:cubicBezTo>
                  <a:pt x="350" y="295"/>
                  <a:pt x="351" y="295"/>
                  <a:pt x="351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382" y="295"/>
                  <a:pt x="382" y="295"/>
                  <a:pt x="382" y="295"/>
                </a:cubicBezTo>
                <a:cubicBezTo>
                  <a:pt x="410" y="295"/>
                  <a:pt x="410" y="295"/>
                  <a:pt x="410" y="295"/>
                </a:cubicBezTo>
                <a:cubicBezTo>
                  <a:pt x="430" y="295"/>
                  <a:pt x="446" y="286"/>
                  <a:pt x="457" y="273"/>
                </a:cubicBezTo>
                <a:cubicBezTo>
                  <a:pt x="468" y="260"/>
                  <a:pt x="474" y="244"/>
                  <a:pt x="474" y="230"/>
                </a:cubicBezTo>
                <a:cubicBezTo>
                  <a:pt x="474" y="211"/>
                  <a:pt x="466" y="194"/>
                  <a:pt x="454" y="18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36" tIns="45718" rIns="91436" bIns="45718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106" name="Straight Connector 62"/>
          <p:cNvCxnSpPr>
            <a:cxnSpLocks noChangeShapeType="1"/>
          </p:cNvCxnSpPr>
          <p:nvPr>
            <p:custDataLst>
              <p:tags r:id="rId25"/>
            </p:custDataLst>
          </p:nvPr>
        </p:nvCxnSpPr>
        <p:spPr bwMode="auto">
          <a:xfrm>
            <a:off x="2551113" y="3673475"/>
            <a:ext cx="7415212" cy="0"/>
          </a:xfrm>
          <a:prstGeom prst="line">
            <a:avLst/>
          </a:prstGeom>
          <a:noFill/>
          <a:ln w="28575" cap="rnd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cxnSp>
      <p:sp>
        <p:nvSpPr>
          <p:cNvPr id="15400" name="Freeform 3"/>
          <p:cNvSpPr>
            <a:spLocks noChangeAspect="1" noEditPoints="1"/>
          </p:cNvSpPr>
          <p:nvPr/>
        </p:nvSpPr>
        <p:spPr bwMode="auto">
          <a:xfrm>
            <a:off x="2692400" y="4467225"/>
            <a:ext cx="414338" cy="436563"/>
          </a:xfrm>
          <a:custGeom>
            <a:avLst/>
            <a:gdLst>
              <a:gd name="T0" fmla="*/ 2147483646 w 363"/>
              <a:gd name="T1" fmla="*/ 2147483646 h 447"/>
              <a:gd name="T2" fmla="*/ 2147483646 w 363"/>
              <a:gd name="T3" fmla="*/ 2147483646 h 447"/>
              <a:gd name="T4" fmla="*/ 2147483646 w 363"/>
              <a:gd name="T5" fmla="*/ 2147483646 h 447"/>
              <a:gd name="T6" fmla="*/ 2147483646 w 363"/>
              <a:gd name="T7" fmla="*/ 2147483646 h 447"/>
              <a:gd name="T8" fmla="*/ 2147483646 w 363"/>
              <a:gd name="T9" fmla="*/ 2147483646 h 447"/>
              <a:gd name="T10" fmla="*/ 2147483646 w 363"/>
              <a:gd name="T11" fmla="*/ 2147483646 h 447"/>
              <a:gd name="T12" fmla="*/ 2147483646 w 363"/>
              <a:gd name="T13" fmla="*/ 2147483646 h 447"/>
              <a:gd name="T14" fmla="*/ 2147483646 w 363"/>
              <a:gd name="T15" fmla="*/ 2147483646 h 447"/>
              <a:gd name="T16" fmla="*/ 2147483646 w 363"/>
              <a:gd name="T17" fmla="*/ 2147483646 h 447"/>
              <a:gd name="T18" fmla="*/ 2147483646 w 363"/>
              <a:gd name="T19" fmla="*/ 2147483646 h 447"/>
              <a:gd name="T20" fmla="*/ 2147483646 w 363"/>
              <a:gd name="T21" fmla="*/ 2147483646 h 447"/>
              <a:gd name="T22" fmla="*/ 2147483646 w 363"/>
              <a:gd name="T23" fmla="*/ 2147483646 h 447"/>
              <a:gd name="T24" fmla="*/ 2147483646 w 363"/>
              <a:gd name="T25" fmla="*/ 2147483646 h 447"/>
              <a:gd name="T26" fmla="*/ 2147483646 w 363"/>
              <a:gd name="T27" fmla="*/ 2147483646 h 447"/>
              <a:gd name="T28" fmla="*/ 2147483646 w 363"/>
              <a:gd name="T29" fmla="*/ 2147483646 h 447"/>
              <a:gd name="T30" fmla="*/ 2147483646 w 363"/>
              <a:gd name="T31" fmla="*/ 2147483646 h 447"/>
              <a:gd name="T32" fmla="*/ 2147483646 w 363"/>
              <a:gd name="T33" fmla="*/ 2147483646 h 447"/>
              <a:gd name="T34" fmla="*/ 2147483646 w 363"/>
              <a:gd name="T35" fmla="*/ 2147483646 h 447"/>
              <a:gd name="T36" fmla="*/ 2147483646 w 363"/>
              <a:gd name="T37" fmla="*/ 2147483646 h 447"/>
              <a:gd name="T38" fmla="*/ 2147483646 w 363"/>
              <a:gd name="T39" fmla="*/ 2147483646 h 447"/>
              <a:gd name="T40" fmla="*/ 2147483646 w 363"/>
              <a:gd name="T41" fmla="*/ 2147483646 h 447"/>
              <a:gd name="T42" fmla="*/ 0 w 363"/>
              <a:gd name="T43" fmla="*/ 2147483646 h 447"/>
              <a:gd name="T44" fmla="*/ 0 w 363"/>
              <a:gd name="T45" fmla="*/ 2147483646 h 447"/>
              <a:gd name="T46" fmla="*/ 2147483646 w 363"/>
              <a:gd name="T47" fmla="*/ 2147483646 h 447"/>
              <a:gd name="T48" fmla="*/ 2147483646 w 363"/>
              <a:gd name="T49" fmla="*/ 2147483646 h 447"/>
              <a:gd name="T50" fmla="*/ 2147483646 w 363"/>
              <a:gd name="T51" fmla="*/ 2147483646 h 447"/>
              <a:gd name="T52" fmla="*/ 2147483646 w 363"/>
              <a:gd name="T53" fmla="*/ 2147483646 h 447"/>
              <a:gd name="T54" fmla="*/ 2147483646 w 363"/>
              <a:gd name="T55" fmla="*/ 2147483646 h 447"/>
              <a:gd name="T56" fmla="*/ 2147483646 w 363"/>
              <a:gd name="T57" fmla="*/ 2147483646 h 447"/>
              <a:gd name="T58" fmla="*/ 2147483646 w 363"/>
              <a:gd name="T59" fmla="*/ 2147483646 h 447"/>
              <a:gd name="T60" fmla="*/ 2147483646 w 363"/>
              <a:gd name="T61" fmla="*/ 2147483646 h 447"/>
              <a:gd name="T62" fmla="*/ 2147483646 w 363"/>
              <a:gd name="T63" fmla="*/ 2147483646 h 447"/>
              <a:gd name="T64" fmla="*/ 2147483646 w 363"/>
              <a:gd name="T65" fmla="*/ 2147483646 h 447"/>
              <a:gd name="T66" fmla="*/ 2147483646 w 363"/>
              <a:gd name="T67" fmla="*/ 2147483646 h 447"/>
              <a:gd name="T68" fmla="*/ 2147483646 w 363"/>
              <a:gd name="T69" fmla="*/ 2147483646 h 447"/>
              <a:gd name="T70" fmla="*/ 2147483646 w 363"/>
              <a:gd name="T71" fmla="*/ 2147483646 h 447"/>
              <a:gd name="T72" fmla="*/ 2147483646 w 363"/>
              <a:gd name="T73" fmla="*/ 2147483646 h 447"/>
              <a:gd name="T74" fmla="*/ 2147483646 w 363"/>
              <a:gd name="T75" fmla="*/ 2147483646 h 447"/>
              <a:gd name="T76" fmla="*/ 2147483646 w 363"/>
              <a:gd name="T77" fmla="*/ 2147483646 h 447"/>
              <a:gd name="T78" fmla="*/ 2147483646 w 363"/>
              <a:gd name="T79" fmla="*/ 2147483646 h 447"/>
              <a:gd name="T80" fmla="*/ 2147483646 w 363"/>
              <a:gd name="T81" fmla="*/ 2147483646 h 447"/>
              <a:gd name="T82" fmla="*/ 2147483646 w 363"/>
              <a:gd name="T83" fmla="*/ 2147483646 h 447"/>
              <a:gd name="T84" fmla="*/ 2147483646 w 363"/>
              <a:gd name="T85" fmla="*/ 2147483646 h 447"/>
              <a:gd name="T86" fmla="*/ 2147483646 w 363"/>
              <a:gd name="T87" fmla="*/ 2147483646 h 447"/>
              <a:gd name="T88" fmla="*/ 2147483646 w 363"/>
              <a:gd name="T89" fmla="*/ 2147483646 h 447"/>
              <a:gd name="T90" fmla="*/ 2147483646 w 363"/>
              <a:gd name="T91" fmla="*/ 2147483646 h 447"/>
              <a:gd name="T92" fmla="*/ 2147483646 w 363"/>
              <a:gd name="T93" fmla="*/ 2147483646 h 447"/>
              <a:gd name="T94" fmla="*/ 2147483646 w 363"/>
              <a:gd name="T95" fmla="*/ 2147483646 h 447"/>
              <a:gd name="T96" fmla="*/ 2147483646 w 363"/>
              <a:gd name="T97" fmla="*/ 2147483646 h 447"/>
              <a:gd name="T98" fmla="*/ 2147483646 w 363"/>
              <a:gd name="T99" fmla="*/ 2147483646 h 44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363" h="447">
                <a:moveTo>
                  <a:pt x="85" y="38"/>
                </a:moveTo>
                <a:cubicBezTo>
                  <a:pt x="85" y="38"/>
                  <a:pt x="85" y="38"/>
                  <a:pt x="85" y="38"/>
                </a:cubicBezTo>
                <a:cubicBezTo>
                  <a:pt x="85" y="36"/>
                  <a:pt x="84" y="34"/>
                  <a:pt x="83" y="32"/>
                </a:cubicBezTo>
                <a:cubicBezTo>
                  <a:pt x="80" y="29"/>
                  <a:pt x="75" y="29"/>
                  <a:pt x="72" y="32"/>
                </a:cubicBezTo>
                <a:cubicBezTo>
                  <a:pt x="51" y="53"/>
                  <a:pt x="41" y="79"/>
                  <a:pt x="41" y="106"/>
                </a:cubicBezTo>
                <a:cubicBezTo>
                  <a:pt x="41" y="106"/>
                  <a:pt x="41" y="106"/>
                  <a:pt x="41" y="106"/>
                </a:cubicBezTo>
                <a:cubicBezTo>
                  <a:pt x="41" y="132"/>
                  <a:pt x="51" y="159"/>
                  <a:pt x="72" y="179"/>
                </a:cubicBezTo>
                <a:cubicBezTo>
                  <a:pt x="75" y="182"/>
                  <a:pt x="80" y="182"/>
                  <a:pt x="83" y="179"/>
                </a:cubicBezTo>
                <a:cubicBezTo>
                  <a:pt x="84" y="178"/>
                  <a:pt x="85" y="176"/>
                  <a:pt x="85" y="174"/>
                </a:cubicBezTo>
                <a:cubicBezTo>
                  <a:pt x="85" y="174"/>
                  <a:pt x="85" y="174"/>
                  <a:pt x="85" y="174"/>
                </a:cubicBezTo>
                <a:cubicBezTo>
                  <a:pt x="85" y="172"/>
                  <a:pt x="84" y="169"/>
                  <a:pt x="83" y="168"/>
                </a:cubicBezTo>
                <a:cubicBezTo>
                  <a:pt x="66" y="151"/>
                  <a:pt x="57" y="128"/>
                  <a:pt x="57" y="106"/>
                </a:cubicBezTo>
                <a:cubicBezTo>
                  <a:pt x="57" y="83"/>
                  <a:pt x="66" y="61"/>
                  <a:pt x="83" y="44"/>
                </a:cubicBezTo>
                <a:cubicBezTo>
                  <a:pt x="84" y="42"/>
                  <a:pt x="85" y="40"/>
                  <a:pt x="85" y="38"/>
                </a:cubicBezTo>
                <a:close/>
                <a:moveTo>
                  <a:pt x="48" y="191"/>
                </a:moveTo>
                <a:cubicBezTo>
                  <a:pt x="48" y="191"/>
                  <a:pt x="47" y="191"/>
                  <a:pt x="47" y="190"/>
                </a:cubicBezTo>
                <a:cubicBezTo>
                  <a:pt x="45" y="188"/>
                  <a:pt x="44" y="186"/>
                  <a:pt x="42" y="184"/>
                </a:cubicBezTo>
                <a:cubicBezTo>
                  <a:pt x="42" y="184"/>
                  <a:pt x="42" y="184"/>
                  <a:pt x="42" y="184"/>
                </a:cubicBezTo>
                <a:cubicBezTo>
                  <a:pt x="41" y="182"/>
                  <a:pt x="40" y="181"/>
                  <a:pt x="39" y="180"/>
                </a:cubicBezTo>
                <a:cubicBezTo>
                  <a:pt x="33" y="171"/>
                  <a:pt x="28" y="162"/>
                  <a:pt x="24" y="152"/>
                </a:cubicBezTo>
                <a:cubicBezTo>
                  <a:pt x="24" y="151"/>
                  <a:pt x="23" y="149"/>
                  <a:pt x="23" y="148"/>
                </a:cubicBezTo>
                <a:cubicBezTo>
                  <a:pt x="22" y="147"/>
                  <a:pt x="22" y="147"/>
                  <a:pt x="22" y="146"/>
                </a:cubicBezTo>
                <a:cubicBezTo>
                  <a:pt x="22" y="145"/>
                  <a:pt x="21" y="143"/>
                  <a:pt x="21" y="142"/>
                </a:cubicBezTo>
                <a:cubicBezTo>
                  <a:pt x="21" y="141"/>
                  <a:pt x="20" y="141"/>
                  <a:pt x="20" y="140"/>
                </a:cubicBezTo>
                <a:cubicBezTo>
                  <a:pt x="20" y="139"/>
                  <a:pt x="20" y="137"/>
                  <a:pt x="19" y="136"/>
                </a:cubicBezTo>
                <a:cubicBezTo>
                  <a:pt x="19" y="135"/>
                  <a:pt x="19" y="135"/>
                  <a:pt x="19" y="134"/>
                </a:cubicBezTo>
                <a:cubicBezTo>
                  <a:pt x="18" y="133"/>
                  <a:pt x="18" y="131"/>
                  <a:pt x="18" y="130"/>
                </a:cubicBezTo>
                <a:cubicBezTo>
                  <a:pt x="18" y="129"/>
                  <a:pt x="18" y="128"/>
                  <a:pt x="17" y="127"/>
                </a:cubicBezTo>
                <a:cubicBezTo>
                  <a:pt x="17" y="126"/>
                  <a:pt x="17" y="125"/>
                  <a:pt x="17" y="124"/>
                </a:cubicBezTo>
                <a:cubicBezTo>
                  <a:pt x="17" y="123"/>
                  <a:pt x="17" y="122"/>
                  <a:pt x="17" y="121"/>
                </a:cubicBezTo>
                <a:cubicBezTo>
                  <a:pt x="16" y="120"/>
                  <a:pt x="16" y="119"/>
                  <a:pt x="16" y="118"/>
                </a:cubicBezTo>
                <a:cubicBezTo>
                  <a:pt x="16" y="117"/>
                  <a:pt x="16" y="116"/>
                  <a:pt x="16" y="114"/>
                </a:cubicBezTo>
                <a:cubicBezTo>
                  <a:pt x="16" y="113"/>
                  <a:pt x="16" y="113"/>
                  <a:pt x="16" y="112"/>
                </a:cubicBezTo>
                <a:cubicBezTo>
                  <a:pt x="16" y="110"/>
                  <a:pt x="16" y="108"/>
                  <a:pt x="16" y="106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6" y="106"/>
                  <a:pt x="16" y="106"/>
                  <a:pt x="16" y="106"/>
                </a:cubicBezTo>
                <a:cubicBezTo>
                  <a:pt x="16" y="104"/>
                  <a:pt x="16" y="102"/>
                  <a:pt x="16" y="100"/>
                </a:cubicBezTo>
                <a:cubicBezTo>
                  <a:pt x="16" y="99"/>
                  <a:pt x="16" y="98"/>
                  <a:pt x="16" y="97"/>
                </a:cubicBezTo>
                <a:cubicBezTo>
                  <a:pt x="16" y="96"/>
                  <a:pt x="16" y="95"/>
                  <a:pt x="16" y="93"/>
                </a:cubicBezTo>
                <a:cubicBezTo>
                  <a:pt x="16" y="92"/>
                  <a:pt x="16" y="92"/>
                  <a:pt x="17" y="91"/>
                </a:cubicBezTo>
                <a:cubicBezTo>
                  <a:pt x="17" y="90"/>
                  <a:pt x="17" y="88"/>
                  <a:pt x="17" y="87"/>
                </a:cubicBezTo>
                <a:cubicBezTo>
                  <a:pt x="17" y="86"/>
                  <a:pt x="17" y="85"/>
                  <a:pt x="17" y="84"/>
                </a:cubicBezTo>
                <a:cubicBezTo>
                  <a:pt x="18" y="83"/>
                  <a:pt x="18" y="82"/>
                  <a:pt x="18" y="81"/>
                </a:cubicBezTo>
                <a:cubicBezTo>
                  <a:pt x="18" y="80"/>
                  <a:pt x="18" y="79"/>
                  <a:pt x="19" y="78"/>
                </a:cubicBezTo>
                <a:cubicBezTo>
                  <a:pt x="19" y="77"/>
                  <a:pt x="19" y="76"/>
                  <a:pt x="19" y="75"/>
                </a:cubicBezTo>
                <a:cubicBezTo>
                  <a:pt x="20" y="74"/>
                  <a:pt x="20" y="73"/>
                  <a:pt x="20" y="71"/>
                </a:cubicBezTo>
                <a:cubicBezTo>
                  <a:pt x="20" y="71"/>
                  <a:pt x="21" y="70"/>
                  <a:pt x="21" y="70"/>
                </a:cubicBezTo>
                <a:cubicBezTo>
                  <a:pt x="21" y="68"/>
                  <a:pt x="22" y="67"/>
                  <a:pt x="22" y="65"/>
                </a:cubicBezTo>
                <a:cubicBezTo>
                  <a:pt x="22" y="65"/>
                  <a:pt x="22" y="65"/>
                  <a:pt x="23" y="64"/>
                </a:cubicBezTo>
                <a:cubicBezTo>
                  <a:pt x="23" y="63"/>
                  <a:pt x="24" y="61"/>
                  <a:pt x="24" y="60"/>
                </a:cubicBezTo>
                <a:cubicBezTo>
                  <a:pt x="28" y="50"/>
                  <a:pt x="33" y="40"/>
                  <a:pt x="39" y="32"/>
                </a:cubicBezTo>
                <a:cubicBezTo>
                  <a:pt x="40" y="30"/>
                  <a:pt x="41" y="29"/>
                  <a:pt x="42" y="28"/>
                </a:cubicBezTo>
                <a:cubicBezTo>
                  <a:pt x="42" y="28"/>
                  <a:pt x="42" y="27"/>
                  <a:pt x="42" y="27"/>
                </a:cubicBezTo>
                <a:cubicBezTo>
                  <a:pt x="44" y="25"/>
                  <a:pt x="45" y="23"/>
                  <a:pt x="47" y="21"/>
                </a:cubicBezTo>
                <a:cubicBezTo>
                  <a:pt x="47" y="21"/>
                  <a:pt x="48" y="21"/>
                  <a:pt x="48" y="20"/>
                </a:cubicBezTo>
                <a:cubicBezTo>
                  <a:pt x="50" y="18"/>
                  <a:pt x="52" y="16"/>
                  <a:pt x="54" y="14"/>
                </a:cubicBezTo>
                <a:cubicBezTo>
                  <a:pt x="55" y="13"/>
                  <a:pt x="56" y="11"/>
                  <a:pt x="56" y="9"/>
                </a:cubicBezTo>
                <a:cubicBezTo>
                  <a:pt x="56" y="8"/>
                  <a:pt x="56" y="7"/>
                  <a:pt x="56" y="6"/>
                </a:cubicBezTo>
                <a:cubicBezTo>
                  <a:pt x="55" y="6"/>
                  <a:pt x="55" y="6"/>
                  <a:pt x="55" y="6"/>
                </a:cubicBezTo>
                <a:cubicBezTo>
                  <a:pt x="55" y="6"/>
                  <a:pt x="55" y="6"/>
                  <a:pt x="55" y="6"/>
                </a:cubicBezTo>
                <a:cubicBezTo>
                  <a:pt x="55" y="5"/>
                  <a:pt x="54" y="4"/>
                  <a:pt x="54" y="3"/>
                </a:cubicBezTo>
                <a:cubicBezTo>
                  <a:pt x="52" y="2"/>
                  <a:pt x="51" y="1"/>
                  <a:pt x="49" y="1"/>
                </a:cubicBezTo>
                <a:cubicBezTo>
                  <a:pt x="47" y="0"/>
                  <a:pt x="44" y="1"/>
                  <a:pt x="42" y="3"/>
                </a:cubicBezTo>
                <a:cubicBezTo>
                  <a:pt x="40" y="5"/>
                  <a:pt x="38" y="7"/>
                  <a:pt x="36" y="10"/>
                </a:cubicBezTo>
                <a:cubicBezTo>
                  <a:pt x="36" y="10"/>
                  <a:pt x="35" y="11"/>
                  <a:pt x="35" y="11"/>
                </a:cubicBezTo>
                <a:cubicBezTo>
                  <a:pt x="33" y="13"/>
                  <a:pt x="31" y="15"/>
                  <a:pt x="30" y="17"/>
                </a:cubicBezTo>
                <a:cubicBezTo>
                  <a:pt x="29" y="18"/>
                  <a:pt x="29" y="18"/>
                  <a:pt x="29" y="18"/>
                </a:cubicBezTo>
                <a:cubicBezTo>
                  <a:pt x="29" y="18"/>
                  <a:pt x="29" y="18"/>
                  <a:pt x="29" y="18"/>
                </a:cubicBezTo>
                <a:cubicBezTo>
                  <a:pt x="28" y="20"/>
                  <a:pt x="27" y="21"/>
                  <a:pt x="26" y="23"/>
                </a:cubicBezTo>
                <a:cubicBezTo>
                  <a:pt x="25" y="23"/>
                  <a:pt x="25" y="23"/>
                  <a:pt x="25" y="23"/>
                </a:cubicBezTo>
                <a:cubicBezTo>
                  <a:pt x="25" y="23"/>
                  <a:pt x="25" y="23"/>
                  <a:pt x="25" y="23"/>
                </a:cubicBezTo>
                <a:cubicBezTo>
                  <a:pt x="19" y="33"/>
                  <a:pt x="14" y="43"/>
                  <a:pt x="9" y="53"/>
                </a:cubicBezTo>
                <a:cubicBezTo>
                  <a:pt x="9" y="53"/>
                  <a:pt x="9" y="53"/>
                  <a:pt x="9" y="53"/>
                </a:cubicBezTo>
                <a:cubicBezTo>
                  <a:pt x="9" y="53"/>
                  <a:pt x="9" y="53"/>
                  <a:pt x="9" y="53"/>
                </a:cubicBezTo>
                <a:cubicBezTo>
                  <a:pt x="9" y="55"/>
                  <a:pt x="8" y="57"/>
                  <a:pt x="7" y="59"/>
                </a:cubicBezTo>
                <a:cubicBezTo>
                  <a:pt x="7" y="59"/>
                  <a:pt x="7" y="60"/>
                  <a:pt x="7" y="60"/>
                </a:cubicBezTo>
                <a:cubicBezTo>
                  <a:pt x="6" y="62"/>
                  <a:pt x="6" y="64"/>
                  <a:pt x="5" y="65"/>
                </a:cubicBezTo>
                <a:cubicBezTo>
                  <a:pt x="5" y="66"/>
                  <a:pt x="5" y="66"/>
                  <a:pt x="5" y="67"/>
                </a:cubicBezTo>
                <a:cubicBezTo>
                  <a:pt x="4" y="69"/>
                  <a:pt x="4" y="70"/>
                  <a:pt x="4" y="72"/>
                </a:cubicBezTo>
                <a:cubicBezTo>
                  <a:pt x="3" y="73"/>
                  <a:pt x="3" y="73"/>
                  <a:pt x="3" y="74"/>
                </a:cubicBezTo>
                <a:cubicBezTo>
                  <a:pt x="3" y="75"/>
                  <a:pt x="3" y="77"/>
                  <a:pt x="2" y="78"/>
                </a:cubicBezTo>
                <a:cubicBezTo>
                  <a:pt x="2" y="79"/>
                  <a:pt x="2" y="80"/>
                  <a:pt x="2" y="81"/>
                </a:cubicBezTo>
                <a:cubicBezTo>
                  <a:pt x="2" y="82"/>
                  <a:pt x="1" y="84"/>
                  <a:pt x="1" y="85"/>
                </a:cubicBezTo>
                <a:cubicBezTo>
                  <a:pt x="1" y="86"/>
                  <a:pt x="1" y="87"/>
                  <a:pt x="1" y="89"/>
                </a:cubicBezTo>
                <a:cubicBezTo>
                  <a:pt x="1" y="90"/>
                  <a:pt x="0" y="91"/>
                  <a:pt x="0" y="92"/>
                </a:cubicBezTo>
                <a:cubicBezTo>
                  <a:pt x="0" y="93"/>
                  <a:pt x="0" y="95"/>
                  <a:pt x="0" y="96"/>
                </a:cubicBezTo>
                <a:cubicBezTo>
                  <a:pt x="0" y="97"/>
                  <a:pt x="0" y="98"/>
                  <a:pt x="0" y="99"/>
                </a:cubicBezTo>
                <a:cubicBezTo>
                  <a:pt x="0" y="101"/>
                  <a:pt x="0" y="103"/>
                  <a:pt x="0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6"/>
                  <a:pt x="0" y="106"/>
                  <a:pt x="0" y="106"/>
                </a:cubicBezTo>
                <a:cubicBezTo>
                  <a:pt x="0" y="108"/>
                  <a:pt x="0" y="111"/>
                  <a:pt x="0" y="113"/>
                </a:cubicBezTo>
                <a:cubicBezTo>
                  <a:pt x="0" y="114"/>
                  <a:pt x="0" y="115"/>
                  <a:pt x="0" y="115"/>
                </a:cubicBezTo>
                <a:cubicBezTo>
                  <a:pt x="0" y="117"/>
                  <a:pt x="0" y="118"/>
                  <a:pt x="0" y="120"/>
                </a:cubicBezTo>
                <a:cubicBezTo>
                  <a:pt x="0" y="121"/>
                  <a:pt x="1" y="122"/>
                  <a:pt x="1" y="123"/>
                </a:cubicBezTo>
                <a:cubicBezTo>
                  <a:pt x="1" y="124"/>
                  <a:pt x="1" y="125"/>
                  <a:pt x="1" y="127"/>
                </a:cubicBezTo>
                <a:cubicBezTo>
                  <a:pt x="1" y="128"/>
                  <a:pt x="2" y="129"/>
                  <a:pt x="2" y="130"/>
                </a:cubicBezTo>
                <a:cubicBezTo>
                  <a:pt x="2" y="131"/>
                  <a:pt x="2" y="132"/>
                  <a:pt x="2" y="133"/>
                </a:cubicBezTo>
                <a:cubicBezTo>
                  <a:pt x="3" y="135"/>
                  <a:pt x="3" y="136"/>
                  <a:pt x="3" y="138"/>
                </a:cubicBezTo>
                <a:cubicBezTo>
                  <a:pt x="3" y="138"/>
                  <a:pt x="3" y="139"/>
                  <a:pt x="4" y="140"/>
                </a:cubicBezTo>
                <a:cubicBezTo>
                  <a:pt x="4" y="141"/>
                  <a:pt x="4" y="143"/>
                  <a:pt x="5" y="145"/>
                </a:cubicBezTo>
                <a:cubicBezTo>
                  <a:pt x="5" y="145"/>
                  <a:pt x="5" y="146"/>
                  <a:pt x="5" y="146"/>
                </a:cubicBezTo>
                <a:cubicBezTo>
                  <a:pt x="6" y="148"/>
                  <a:pt x="6" y="150"/>
                  <a:pt x="7" y="152"/>
                </a:cubicBezTo>
                <a:cubicBezTo>
                  <a:pt x="7" y="152"/>
                  <a:pt x="7" y="152"/>
                  <a:pt x="7" y="152"/>
                </a:cubicBezTo>
                <a:cubicBezTo>
                  <a:pt x="8" y="154"/>
                  <a:pt x="9" y="156"/>
                  <a:pt x="9" y="158"/>
                </a:cubicBezTo>
                <a:cubicBezTo>
                  <a:pt x="9" y="158"/>
                  <a:pt x="9" y="158"/>
                  <a:pt x="9" y="158"/>
                </a:cubicBezTo>
                <a:cubicBezTo>
                  <a:pt x="9" y="158"/>
                  <a:pt x="9" y="158"/>
                  <a:pt x="9" y="158"/>
                </a:cubicBezTo>
                <a:cubicBezTo>
                  <a:pt x="14" y="169"/>
                  <a:pt x="19" y="179"/>
                  <a:pt x="25" y="188"/>
                </a:cubicBezTo>
                <a:cubicBezTo>
                  <a:pt x="25" y="188"/>
                  <a:pt x="25" y="188"/>
                  <a:pt x="25" y="188"/>
                </a:cubicBezTo>
                <a:cubicBezTo>
                  <a:pt x="25" y="188"/>
                  <a:pt x="25" y="189"/>
                  <a:pt x="26" y="189"/>
                </a:cubicBezTo>
                <a:cubicBezTo>
                  <a:pt x="27" y="190"/>
                  <a:pt x="28" y="192"/>
                  <a:pt x="29" y="193"/>
                </a:cubicBezTo>
                <a:cubicBezTo>
                  <a:pt x="29" y="193"/>
                  <a:pt x="29" y="194"/>
                  <a:pt x="29" y="194"/>
                </a:cubicBezTo>
                <a:cubicBezTo>
                  <a:pt x="29" y="194"/>
                  <a:pt x="29" y="194"/>
                  <a:pt x="30" y="194"/>
                </a:cubicBezTo>
                <a:cubicBezTo>
                  <a:pt x="31" y="196"/>
                  <a:pt x="33" y="198"/>
                  <a:pt x="35" y="201"/>
                </a:cubicBezTo>
                <a:cubicBezTo>
                  <a:pt x="35" y="201"/>
                  <a:pt x="36" y="201"/>
                  <a:pt x="36" y="202"/>
                </a:cubicBezTo>
                <a:cubicBezTo>
                  <a:pt x="38" y="204"/>
                  <a:pt x="40" y="206"/>
                  <a:pt x="42" y="209"/>
                </a:cubicBezTo>
                <a:cubicBezTo>
                  <a:pt x="44" y="211"/>
                  <a:pt x="47" y="211"/>
                  <a:pt x="49" y="211"/>
                </a:cubicBezTo>
                <a:cubicBezTo>
                  <a:pt x="51" y="211"/>
                  <a:pt x="52" y="210"/>
                  <a:pt x="54" y="209"/>
                </a:cubicBezTo>
                <a:cubicBezTo>
                  <a:pt x="54" y="208"/>
                  <a:pt x="55" y="207"/>
                  <a:pt x="55" y="206"/>
                </a:cubicBezTo>
                <a:cubicBezTo>
                  <a:pt x="55" y="206"/>
                  <a:pt x="55" y="206"/>
                  <a:pt x="55" y="206"/>
                </a:cubicBezTo>
                <a:cubicBezTo>
                  <a:pt x="55" y="206"/>
                  <a:pt x="55" y="206"/>
                  <a:pt x="56" y="205"/>
                </a:cubicBezTo>
                <a:cubicBezTo>
                  <a:pt x="56" y="205"/>
                  <a:pt x="56" y="204"/>
                  <a:pt x="56" y="203"/>
                </a:cubicBezTo>
                <a:cubicBezTo>
                  <a:pt x="56" y="201"/>
                  <a:pt x="55" y="199"/>
                  <a:pt x="54" y="197"/>
                </a:cubicBezTo>
                <a:cubicBezTo>
                  <a:pt x="52" y="195"/>
                  <a:pt x="50" y="193"/>
                  <a:pt x="48" y="191"/>
                </a:cubicBezTo>
                <a:close/>
                <a:moveTo>
                  <a:pt x="207" y="60"/>
                </a:moveTo>
                <a:cubicBezTo>
                  <a:pt x="158" y="60"/>
                  <a:pt x="158" y="60"/>
                  <a:pt x="158" y="60"/>
                </a:cubicBezTo>
                <a:cubicBezTo>
                  <a:pt x="147" y="60"/>
                  <a:pt x="138" y="69"/>
                  <a:pt x="138" y="80"/>
                </a:cubicBezTo>
                <a:cubicBezTo>
                  <a:pt x="138" y="439"/>
                  <a:pt x="138" y="439"/>
                  <a:pt x="138" y="439"/>
                </a:cubicBezTo>
                <a:cubicBezTo>
                  <a:pt x="138" y="443"/>
                  <a:pt x="142" y="447"/>
                  <a:pt x="146" y="447"/>
                </a:cubicBezTo>
                <a:cubicBezTo>
                  <a:pt x="151" y="447"/>
                  <a:pt x="154" y="443"/>
                  <a:pt x="154" y="439"/>
                </a:cubicBezTo>
                <a:cubicBezTo>
                  <a:pt x="154" y="420"/>
                  <a:pt x="154" y="420"/>
                  <a:pt x="154" y="420"/>
                </a:cubicBezTo>
                <a:cubicBezTo>
                  <a:pt x="211" y="363"/>
                  <a:pt x="211" y="363"/>
                  <a:pt x="211" y="363"/>
                </a:cubicBezTo>
                <a:cubicBezTo>
                  <a:pt x="211" y="439"/>
                  <a:pt x="211" y="439"/>
                  <a:pt x="211" y="439"/>
                </a:cubicBezTo>
                <a:cubicBezTo>
                  <a:pt x="211" y="443"/>
                  <a:pt x="215" y="447"/>
                  <a:pt x="219" y="447"/>
                </a:cubicBezTo>
                <a:cubicBezTo>
                  <a:pt x="223" y="447"/>
                  <a:pt x="227" y="443"/>
                  <a:pt x="227" y="439"/>
                </a:cubicBezTo>
                <a:cubicBezTo>
                  <a:pt x="227" y="80"/>
                  <a:pt x="227" y="80"/>
                  <a:pt x="227" y="80"/>
                </a:cubicBezTo>
                <a:cubicBezTo>
                  <a:pt x="227" y="69"/>
                  <a:pt x="218" y="60"/>
                  <a:pt x="207" y="60"/>
                </a:cubicBezTo>
                <a:close/>
                <a:moveTo>
                  <a:pt x="154" y="80"/>
                </a:moveTo>
                <a:cubicBezTo>
                  <a:pt x="154" y="78"/>
                  <a:pt x="156" y="76"/>
                  <a:pt x="158" y="76"/>
                </a:cubicBezTo>
                <a:cubicBezTo>
                  <a:pt x="198" y="76"/>
                  <a:pt x="198" y="76"/>
                  <a:pt x="198" y="76"/>
                </a:cubicBezTo>
                <a:cubicBezTo>
                  <a:pt x="154" y="120"/>
                  <a:pt x="154" y="120"/>
                  <a:pt x="154" y="120"/>
                </a:cubicBezTo>
                <a:lnTo>
                  <a:pt x="154" y="80"/>
                </a:lnTo>
                <a:close/>
                <a:moveTo>
                  <a:pt x="154" y="155"/>
                </a:moveTo>
                <a:cubicBezTo>
                  <a:pt x="207" y="207"/>
                  <a:pt x="207" y="207"/>
                  <a:pt x="207" y="207"/>
                </a:cubicBezTo>
                <a:cubicBezTo>
                  <a:pt x="154" y="260"/>
                  <a:pt x="154" y="260"/>
                  <a:pt x="154" y="260"/>
                </a:cubicBezTo>
                <a:lnTo>
                  <a:pt x="154" y="155"/>
                </a:lnTo>
                <a:close/>
                <a:moveTo>
                  <a:pt x="154" y="397"/>
                </a:moveTo>
                <a:cubicBezTo>
                  <a:pt x="154" y="294"/>
                  <a:pt x="154" y="294"/>
                  <a:pt x="154" y="294"/>
                </a:cubicBezTo>
                <a:cubicBezTo>
                  <a:pt x="206" y="346"/>
                  <a:pt x="206" y="346"/>
                  <a:pt x="206" y="346"/>
                </a:cubicBezTo>
                <a:lnTo>
                  <a:pt x="154" y="397"/>
                </a:lnTo>
                <a:close/>
                <a:moveTo>
                  <a:pt x="211" y="328"/>
                </a:moveTo>
                <a:cubicBezTo>
                  <a:pt x="160" y="277"/>
                  <a:pt x="160" y="277"/>
                  <a:pt x="160" y="277"/>
                </a:cubicBezTo>
                <a:cubicBezTo>
                  <a:pt x="211" y="226"/>
                  <a:pt x="211" y="226"/>
                  <a:pt x="211" y="226"/>
                </a:cubicBezTo>
                <a:lnTo>
                  <a:pt x="211" y="328"/>
                </a:lnTo>
                <a:close/>
                <a:moveTo>
                  <a:pt x="211" y="189"/>
                </a:moveTo>
                <a:cubicBezTo>
                  <a:pt x="159" y="137"/>
                  <a:pt x="159" y="137"/>
                  <a:pt x="159" y="137"/>
                </a:cubicBezTo>
                <a:cubicBezTo>
                  <a:pt x="211" y="86"/>
                  <a:pt x="211" y="86"/>
                  <a:pt x="211" y="86"/>
                </a:cubicBezTo>
                <a:lnTo>
                  <a:pt x="211" y="189"/>
                </a:lnTo>
                <a:close/>
                <a:moveTo>
                  <a:pt x="107" y="58"/>
                </a:moveTo>
                <a:cubicBezTo>
                  <a:pt x="103" y="58"/>
                  <a:pt x="99" y="62"/>
                  <a:pt x="99" y="66"/>
                </a:cubicBezTo>
                <a:cubicBezTo>
                  <a:pt x="99" y="144"/>
                  <a:pt x="99" y="144"/>
                  <a:pt x="99" y="144"/>
                </a:cubicBezTo>
                <a:cubicBezTo>
                  <a:pt x="99" y="148"/>
                  <a:pt x="103" y="152"/>
                  <a:pt x="107" y="152"/>
                </a:cubicBezTo>
                <a:cubicBezTo>
                  <a:pt x="111" y="152"/>
                  <a:pt x="115" y="148"/>
                  <a:pt x="115" y="144"/>
                </a:cubicBezTo>
                <a:cubicBezTo>
                  <a:pt x="115" y="66"/>
                  <a:pt x="115" y="66"/>
                  <a:pt x="115" y="66"/>
                </a:cubicBezTo>
                <a:cubicBezTo>
                  <a:pt x="115" y="62"/>
                  <a:pt x="111" y="58"/>
                  <a:pt x="107" y="58"/>
                </a:cubicBezTo>
                <a:close/>
                <a:moveTo>
                  <a:pt x="320" y="28"/>
                </a:moveTo>
                <a:cubicBezTo>
                  <a:pt x="322" y="29"/>
                  <a:pt x="323" y="31"/>
                  <a:pt x="324" y="33"/>
                </a:cubicBezTo>
                <a:cubicBezTo>
                  <a:pt x="327" y="36"/>
                  <a:pt x="332" y="37"/>
                  <a:pt x="335" y="35"/>
                </a:cubicBezTo>
                <a:cubicBezTo>
                  <a:pt x="339" y="32"/>
                  <a:pt x="340" y="27"/>
                  <a:pt x="337" y="23"/>
                </a:cubicBezTo>
                <a:cubicBezTo>
                  <a:pt x="336" y="22"/>
                  <a:pt x="335" y="20"/>
                  <a:pt x="333" y="18"/>
                </a:cubicBezTo>
                <a:cubicBezTo>
                  <a:pt x="329" y="13"/>
                  <a:pt x="325" y="8"/>
                  <a:pt x="320" y="3"/>
                </a:cubicBezTo>
                <a:cubicBezTo>
                  <a:pt x="317" y="0"/>
                  <a:pt x="312" y="0"/>
                  <a:pt x="309" y="3"/>
                </a:cubicBezTo>
                <a:cubicBezTo>
                  <a:pt x="307" y="4"/>
                  <a:pt x="306" y="7"/>
                  <a:pt x="306" y="9"/>
                </a:cubicBezTo>
                <a:cubicBezTo>
                  <a:pt x="306" y="11"/>
                  <a:pt x="307" y="13"/>
                  <a:pt x="309" y="14"/>
                </a:cubicBezTo>
                <a:cubicBezTo>
                  <a:pt x="313" y="18"/>
                  <a:pt x="317" y="23"/>
                  <a:pt x="320" y="28"/>
                </a:cubicBezTo>
                <a:close/>
                <a:moveTo>
                  <a:pt x="257" y="59"/>
                </a:moveTo>
                <a:cubicBezTo>
                  <a:pt x="252" y="59"/>
                  <a:pt x="249" y="63"/>
                  <a:pt x="249" y="67"/>
                </a:cubicBezTo>
                <a:cubicBezTo>
                  <a:pt x="249" y="145"/>
                  <a:pt x="249" y="145"/>
                  <a:pt x="249" y="145"/>
                </a:cubicBezTo>
                <a:cubicBezTo>
                  <a:pt x="249" y="149"/>
                  <a:pt x="252" y="153"/>
                  <a:pt x="257" y="153"/>
                </a:cubicBezTo>
                <a:cubicBezTo>
                  <a:pt x="261" y="153"/>
                  <a:pt x="265" y="149"/>
                  <a:pt x="265" y="145"/>
                </a:cubicBezTo>
                <a:cubicBezTo>
                  <a:pt x="265" y="67"/>
                  <a:pt x="265" y="67"/>
                  <a:pt x="265" y="67"/>
                </a:cubicBezTo>
                <a:cubicBezTo>
                  <a:pt x="265" y="63"/>
                  <a:pt x="261" y="59"/>
                  <a:pt x="257" y="59"/>
                </a:cubicBezTo>
                <a:close/>
                <a:moveTo>
                  <a:pt x="291" y="32"/>
                </a:moveTo>
                <a:cubicBezTo>
                  <a:pt x="288" y="29"/>
                  <a:pt x="283" y="29"/>
                  <a:pt x="279" y="32"/>
                </a:cubicBezTo>
                <a:cubicBezTo>
                  <a:pt x="278" y="34"/>
                  <a:pt x="277" y="36"/>
                  <a:pt x="277" y="38"/>
                </a:cubicBezTo>
                <a:cubicBezTo>
                  <a:pt x="277" y="40"/>
                  <a:pt x="278" y="42"/>
                  <a:pt x="279" y="44"/>
                </a:cubicBezTo>
                <a:cubicBezTo>
                  <a:pt x="297" y="61"/>
                  <a:pt x="305" y="83"/>
                  <a:pt x="305" y="106"/>
                </a:cubicBezTo>
                <a:cubicBezTo>
                  <a:pt x="305" y="128"/>
                  <a:pt x="297" y="151"/>
                  <a:pt x="279" y="168"/>
                </a:cubicBezTo>
                <a:cubicBezTo>
                  <a:pt x="279" y="168"/>
                  <a:pt x="279" y="168"/>
                  <a:pt x="279" y="168"/>
                </a:cubicBezTo>
                <a:cubicBezTo>
                  <a:pt x="276" y="171"/>
                  <a:pt x="276" y="176"/>
                  <a:pt x="279" y="179"/>
                </a:cubicBezTo>
                <a:cubicBezTo>
                  <a:pt x="283" y="182"/>
                  <a:pt x="288" y="182"/>
                  <a:pt x="291" y="179"/>
                </a:cubicBezTo>
                <a:cubicBezTo>
                  <a:pt x="311" y="159"/>
                  <a:pt x="321" y="132"/>
                  <a:pt x="321" y="106"/>
                </a:cubicBezTo>
                <a:cubicBezTo>
                  <a:pt x="321" y="79"/>
                  <a:pt x="311" y="53"/>
                  <a:pt x="291" y="32"/>
                </a:cubicBezTo>
                <a:close/>
                <a:moveTo>
                  <a:pt x="353" y="53"/>
                </a:moveTo>
                <a:cubicBezTo>
                  <a:pt x="351" y="49"/>
                  <a:pt x="347" y="47"/>
                  <a:pt x="343" y="49"/>
                </a:cubicBezTo>
                <a:cubicBezTo>
                  <a:pt x="338" y="50"/>
                  <a:pt x="336" y="55"/>
                  <a:pt x="338" y="59"/>
                </a:cubicBezTo>
                <a:cubicBezTo>
                  <a:pt x="344" y="74"/>
                  <a:pt x="347" y="90"/>
                  <a:pt x="347" y="106"/>
                </a:cubicBezTo>
                <a:cubicBezTo>
                  <a:pt x="347" y="140"/>
                  <a:pt x="333" y="173"/>
                  <a:pt x="309" y="197"/>
                </a:cubicBezTo>
                <a:cubicBezTo>
                  <a:pt x="307" y="199"/>
                  <a:pt x="306" y="201"/>
                  <a:pt x="306" y="203"/>
                </a:cubicBezTo>
                <a:cubicBezTo>
                  <a:pt x="306" y="205"/>
                  <a:pt x="307" y="207"/>
                  <a:pt x="309" y="209"/>
                </a:cubicBezTo>
                <a:cubicBezTo>
                  <a:pt x="312" y="212"/>
                  <a:pt x="317" y="212"/>
                  <a:pt x="320" y="209"/>
                </a:cubicBezTo>
                <a:cubicBezTo>
                  <a:pt x="348" y="181"/>
                  <a:pt x="363" y="145"/>
                  <a:pt x="363" y="106"/>
                </a:cubicBezTo>
                <a:cubicBezTo>
                  <a:pt x="363" y="88"/>
                  <a:pt x="359" y="70"/>
                  <a:pt x="353" y="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3966" tIns="36983" rIns="73966" bIns="36983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401" name="Freeform 6"/>
          <p:cNvSpPr>
            <a:spLocks noChangeAspect="1"/>
          </p:cNvSpPr>
          <p:nvPr/>
        </p:nvSpPr>
        <p:spPr bwMode="auto">
          <a:xfrm>
            <a:off x="2538413" y="3802063"/>
            <a:ext cx="1809750" cy="1512887"/>
          </a:xfrm>
          <a:custGeom>
            <a:avLst/>
            <a:gdLst>
              <a:gd name="T0" fmla="*/ 2147483646 w 545"/>
              <a:gd name="T1" fmla="*/ 2147483646 h 455"/>
              <a:gd name="T2" fmla="*/ 0 w 545"/>
              <a:gd name="T3" fmla="*/ 2147483646 h 455"/>
              <a:gd name="T4" fmla="*/ 0 w 545"/>
              <a:gd name="T5" fmla="*/ 2147483646 h 455"/>
              <a:gd name="T6" fmla="*/ 0 w 545"/>
              <a:gd name="T7" fmla="*/ 2147483646 h 455"/>
              <a:gd name="T8" fmla="*/ 2147483646 w 545"/>
              <a:gd name="T9" fmla="*/ 0 h 455"/>
              <a:gd name="T10" fmla="*/ 2147483646 w 545"/>
              <a:gd name="T11" fmla="*/ 0 h 455"/>
              <a:gd name="T12" fmla="*/ 2147483646 w 545"/>
              <a:gd name="T13" fmla="*/ 0 h 455"/>
              <a:gd name="T14" fmla="*/ 2147483646 w 545"/>
              <a:gd name="T15" fmla="*/ 2147483646 h 455"/>
              <a:gd name="T16" fmla="*/ 2147483646 w 545"/>
              <a:gd name="T17" fmla="*/ 2147483646 h 455"/>
              <a:gd name="T18" fmla="*/ 2147483646 w 545"/>
              <a:gd name="T19" fmla="*/ 2147483646 h 455"/>
              <a:gd name="T20" fmla="*/ 2147483646 w 545"/>
              <a:gd name="T21" fmla="*/ 2147483646 h 455"/>
              <a:gd name="T22" fmla="*/ 2147483646 w 545"/>
              <a:gd name="T23" fmla="*/ 2147483646 h 455"/>
              <a:gd name="T24" fmla="*/ 2147483646 w 545"/>
              <a:gd name="T25" fmla="*/ 2147483646 h 455"/>
              <a:gd name="T26" fmla="*/ 2147483646 w 545"/>
              <a:gd name="T27" fmla="*/ 2147483646 h 455"/>
              <a:gd name="T28" fmla="*/ 2147483646 w 545"/>
              <a:gd name="T29" fmla="*/ 2147483646 h 455"/>
              <a:gd name="T30" fmla="*/ 2147483646 w 545"/>
              <a:gd name="T31" fmla="*/ 2147483646 h 455"/>
              <a:gd name="T32" fmla="*/ 2147483646 w 545"/>
              <a:gd name="T33" fmla="*/ 2147483646 h 455"/>
              <a:gd name="T34" fmla="*/ 2147483646 w 545"/>
              <a:gd name="T35" fmla="*/ 2147483646 h 455"/>
              <a:gd name="T36" fmla="*/ 2147483646 w 545"/>
              <a:gd name="T37" fmla="*/ 2147483646 h 455"/>
              <a:gd name="T38" fmla="*/ 2147483646 w 545"/>
              <a:gd name="T39" fmla="*/ 2147483646 h 455"/>
              <a:gd name="T40" fmla="*/ 2147483646 w 545"/>
              <a:gd name="T41" fmla="*/ 2147483646 h 455"/>
              <a:gd name="T42" fmla="*/ 2147483646 w 545"/>
              <a:gd name="T43" fmla="*/ 2147483646 h 455"/>
              <a:gd name="T44" fmla="*/ 2147483646 w 545"/>
              <a:gd name="T45" fmla="*/ 2147483646 h 455"/>
              <a:gd name="T46" fmla="*/ 2147483646 w 545"/>
              <a:gd name="T47" fmla="*/ 2147483646 h 455"/>
              <a:gd name="T48" fmla="*/ 2147483646 w 545"/>
              <a:gd name="T49" fmla="*/ 2147483646 h 455"/>
              <a:gd name="T50" fmla="*/ 2147483646 w 545"/>
              <a:gd name="T51" fmla="*/ 2147483646 h 455"/>
              <a:gd name="T52" fmla="*/ 2147483646 w 545"/>
              <a:gd name="T53" fmla="*/ 2147483646 h 455"/>
              <a:gd name="T54" fmla="*/ 2147483646 w 545"/>
              <a:gd name="T55" fmla="*/ 2147483646 h 455"/>
              <a:gd name="T56" fmla="*/ 2147483646 w 545"/>
              <a:gd name="T57" fmla="*/ 2147483646 h 455"/>
              <a:gd name="T58" fmla="*/ 2147483646 w 545"/>
              <a:gd name="T59" fmla="*/ 2147483646 h 455"/>
              <a:gd name="T60" fmla="*/ 2147483646 w 545"/>
              <a:gd name="T61" fmla="*/ 2147483646 h 455"/>
              <a:gd name="T62" fmla="*/ 2147483646 w 545"/>
              <a:gd name="T63" fmla="*/ 2147483646 h 455"/>
              <a:gd name="T64" fmla="*/ 2147483646 w 545"/>
              <a:gd name="T65" fmla="*/ 2147483646 h 455"/>
              <a:gd name="T66" fmla="*/ 2147483646 w 545"/>
              <a:gd name="T67" fmla="*/ 2147483646 h 455"/>
              <a:gd name="T68" fmla="*/ 2147483646 w 545"/>
              <a:gd name="T69" fmla="*/ 2147483646 h 45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545"/>
              <a:gd name="T106" fmla="*/ 0 h 455"/>
              <a:gd name="T107" fmla="*/ 545 w 545"/>
              <a:gd name="T108" fmla="*/ 455 h 45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545" h="455">
                <a:moveTo>
                  <a:pt x="31" y="455"/>
                </a:moveTo>
                <a:cubicBezTo>
                  <a:pt x="14" y="455"/>
                  <a:pt x="0" y="441"/>
                  <a:pt x="0" y="424"/>
                </a:cubicBezTo>
                <a:cubicBezTo>
                  <a:pt x="0" y="424"/>
                  <a:pt x="0" y="424"/>
                  <a:pt x="0" y="424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13"/>
                  <a:pt x="14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515" y="0"/>
                  <a:pt x="515" y="0"/>
                  <a:pt x="515" y="0"/>
                </a:cubicBezTo>
                <a:cubicBezTo>
                  <a:pt x="532" y="0"/>
                  <a:pt x="545" y="13"/>
                  <a:pt x="545" y="30"/>
                </a:cubicBezTo>
                <a:cubicBezTo>
                  <a:pt x="545" y="30"/>
                  <a:pt x="545" y="30"/>
                  <a:pt x="545" y="30"/>
                </a:cubicBezTo>
                <a:cubicBezTo>
                  <a:pt x="545" y="52"/>
                  <a:pt x="545" y="52"/>
                  <a:pt x="545" y="52"/>
                </a:cubicBezTo>
                <a:cubicBezTo>
                  <a:pt x="545" y="57"/>
                  <a:pt x="542" y="60"/>
                  <a:pt x="537" y="60"/>
                </a:cubicBezTo>
                <a:cubicBezTo>
                  <a:pt x="537" y="60"/>
                  <a:pt x="537" y="60"/>
                  <a:pt x="537" y="60"/>
                </a:cubicBezTo>
                <a:cubicBezTo>
                  <a:pt x="533" y="60"/>
                  <a:pt x="529" y="57"/>
                  <a:pt x="529" y="52"/>
                </a:cubicBezTo>
                <a:cubicBezTo>
                  <a:pt x="529" y="52"/>
                  <a:pt x="529" y="52"/>
                  <a:pt x="529" y="52"/>
                </a:cubicBezTo>
                <a:cubicBezTo>
                  <a:pt x="529" y="30"/>
                  <a:pt x="529" y="30"/>
                  <a:pt x="529" y="30"/>
                </a:cubicBezTo>
                <a:cubicBezTo>
                  <a:pt x="529" y="22"/>
                  <a:pt x="523" y="16"/>
                  <a:pt x="515" y="16"/>
                </a:cubicBezTo>
                <a:cubicBezTo>
                  <a:pt x="515" y="16"/>
                  <a:pt x="515" y="16"/>
                  <a:pt x="515" y="16"/>
                </a:cubicBezTo>
                <a:cubicBezTo>
                  <a:pt x="31" y="16"/>
                  <a:pt x="31" y="16"/>
                  <a:pt x="31" y="16"/>
                </a:cubicBezTo>
                <a:cubicBezTo>
                  <a:pt x="23" y="16"/>
                  <a:pt x="16" y="22"/>
                  <a:pt x="16" y="30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424"/>
                  <a:pt x="16" y="424"/>
                  <a:pt x="16" y="424"/>
                </a:cubicBezTo>
                <a:cubicBezTo>
                  <a:pt x="16" y="432"/>
                  <a:pt x="23" y="439"/>
                  <a:pt x="31" y="439"/>
                </a:cubicBezTo>
                <a:cubicBezTo>
                  <a:pt x="31" y="439"/>
                  <a:pt x="31" y="439"/>
                  <a:pt x="31" y="439"/>
                </a:cubicBezTo>
                <a:cubicBezTo>
                  <a:pt x="515" y="439"/>
                  <a:pt x="515" y="439"/>
                  <a:pt x="515" y="439"/>
                </a:cubicBezTo>
                <a:cubicBezTo>
                  <a:pt x="523" y="439"/>
                  <a:pt x="529" y="432"/>
                  <a:pt x="529" y="424"/>
                </a:cubicBezTo>
                <a:cubicBezTo>
                  <a:pt x="529" y="424"/>
                  <a:pt x="529" y="424"/>
                  <a:pt x="529" y="424"/>
                </a:cubicBezTo>
                <a:cubicBezTo>
                  <a:pt x="529" y="82"/>
                  <a:pt x="529" y="82"/>
                  <a:pt x="529" y="82"/>
                </a:cubicBezTo>
                <a:cubicBezTo>
                  <a:pt x="529" y="77"/>
                  <a:pt x="533" y="74"/>
                  <a:pt x="537" y="74"/>
                </a:cubicBezTo>
                <a:cubicBezTo>
                  <a:pt x="537" y="74"/>
                  <a:pt x="537" y="74"/>
                  <a:pt x="537" y="74"/>
                </a:cubicBezTo>
                <a:cubicBezTo>
                  <a:pt x="542" y="74"/>
                  <a:pt x="545" y="77"/>
                  <a:pt x="545" y="82"/>
                </a:cubicBezTo>
                <a:cubicBezTo>
                  <a:pt x="545" y="82"/>
                  <a:pt x="545" y="82"/>
                  <a:pt x="545" y="82"/>
                </a:cubicBezTo>
                <a:cubicBezTo>
                  <a:pt x="545" y="424"/>
                  <a:pt x="545" y="424"/>
                  <a:pt x="545" y="424"/>
                </a:cubicBezTo>
                <a:cubicBezTo>
                  <a:pt x="545" y="441"/>
                  <a:pt x="532" y="455"/>
                  <a:pt x="515" y="455"/>
                </a:cubicBezTo>
                <a:cubicBezTo>
                  <a:pt x="515" y="455"/>
                  <a:pt x="515" y="455"/>
                  <a:pt x="515" y="455"/>
                </a:cubicBezTo>
                <a:cubicBezTo>
                  <a:pt x="31" y="455"/>
                  <a:pt x="31" y="455"/>
                  <a:pt x="31" y="45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6000" tIns="82800" rIns="126000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Access</a:t>
            </a:r>
          </a:p>
        </p:txBody>
      </p:sp>
      <p:grpSp>
        <p:nvGrpSpPr>
          <p:cNvPr id="15402" name="Group 37"/>
          <p:cNvGrpSpPr>
            <a:grpSpLocks/>
          </p:cNvGrpSpPr>
          <p:nvPr/>
        </p:nvGrpSpPr>
        <p:grpSpPr bwMode="auto">
          <a:xfrm>
            <a:off x="3087688" y="4808538"/>
            <a:ext cx="323850" cy="312737"/>
            <a:chOff x="10080561" y="5420759"/>
            <a:chExt cx="324000" cy="324000"/>
          </a:xfrm>
        </p:grpSpPr>
        <p:sp>
          <p:nvSpPr>
            <p:cNvPr id="15416" name="Oval 121"/>
            <p:cNvSpPr>
              <a:spLocks noChangeAspect="1"/>
            </p:cNvSpPr>
            <p:nvPr/>
          </p:nvSpPr>
          <p:spPr bwMode="auto">
            <a:xfrm>
              <a:off x="10080561" y="5420759"/>
              <a:ext cx="324000" cy="324000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08A00"/>
                  </a:solidFill>
                </a14:hiddenFill>
              </a:ext>
            </a:extLst>
          </p:spPr>
          <p:txBody>
            <a:bodyPr wrap="none" lIns="72000" rIns="72000"/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sv-SE" sz="2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17" name="Freeform 6"/>
            <p:cNvSpPr>
              <a:spLocks noChangeAspect="1" noEditPoints="1"/>
            </p:cNvSpPr>
            <p:nvPr/>
          </p:nvSpPr>
          <p:spPr bwMode="auto">
            <a:xfrm>
              <a:off x="10168519" y="5482340"/>
              <a:ext cx="174462" cy="174462"/>
            </a:xfrm>
            <a:custGeom>
              <a:avLst/>
              <a:gdLst>
                <a:gd name="T0" fmla="*/ 2147483646 w 298"/>
                <a:gd name="T1" fmla="*/ 2147483646 h 298"/>
                <a:gd name="T2" fmla="*/ 2147483646 w 298"/>
                <a:gd name="T3" fmla="*/ 2147483646 h 298"/>
                <a:gd name="T4" fmla="*/ 2147483646 w 298"/>
                <a:gd name="T5" fmla="*/ 2147483646 h 298"/>
                <a:gd name="T6" fmla="*/ 2147483646 w 298"/>
                <a:gd name="T7" fmla="*/ 2147483646 h 298"/>
                <a:gd name="T8" fmla="*/ 2147483646 w 298"/>
                <a:gd name="T9" fmla="*/ 2147483646 h 298"/>
                <a:gd name="T10" fmla="*/ 2147483646 w 298"/>
                <a:gd name="T11" fmla="*/ 2147483646 h 298"/>
                <a:gd name="T12" fmla="*/ 2147483646 w 298"/>
                <a:gd name="T13" fmla="*/ 2147483646 h 298"/>
                <a:gd name="T14" fmla="*/ 2147483646 w 298"/>
                <a:gd name="T15" fmla="*/ 2147483646 h 298"/>
                <a:gd name="T16" fmla="*/ 2147483646 w 298"/>
                <a:gd name="T17" fmla="*/ 2147483646 h 298"/>
                <a:gd name="T18" fmla="*/ 2147483646 w 298"/>
                <a:gd name="T19" fmla="*/ 2147483646 h 298"/>
                <a:gd name="T20" fmla="*/ 2147483646 w 298"/>
                <a:gd name="T21" fmla="*/ 2147483646 h 298"/>
                <a:gd name="T22" fmla="*/ 2147483646 w 298"/>
                <a:gd name="T23" fmla="*/ 2147483646 h 298"/>
                <a:gd name="T24" fmla="*/ 2147483646 w 298"/>
                <a:gd name="T25" fmla="*/ 2147483646 h 298"/>
                <a:gd name="T26" fmla="*/ 2147483646 w 298"/>
                <a:gd name="T27" fmla="*/ 2147483646 h 298"/>
                <a:gd name="T28" fmla="*/ 2147483646 w 298"/>
                <a:gd name="T29" fmla="*/ 2147483646 h 298"/>
                <a:gd name="T30" fmla="*/ 2147483646 w 298"/>
                <a:gd name="T31" fmla="*/ 2147483646 h 298"/>
                <a:gd name="T32" fmla="*/ 2147483646 w 298"/>
                <a:gd name="T33" fmla="*/ 2147483646 h 298"/>
                <a:gd name="T34" fmla="*/ 0 w 298"/>
                <a:gd name="T35" fmla="*/ 2147483646 h 298"/>
                <a:gd name="T36" fmla="*/ 2147483646 w 298"/>
                <a:gd name="T37" fmla="*/ 2147483646 h 298"/>
                <a:gd name="T38" fmla="*/ 2147483646 w 298"/>
                <a:gd name="T39" fmla="*/ 2147483646 h 298"/>
                <a:gd name="T40" fmla="*/ 2147483646 w 298"/>
                <a:gd name="T41" fmla="*/ 2147483646 h 298"/>
                <a:gd name="T42" fmla="*/ 2147483646 w 298"/>
                <a:gd name="T43" fmla="*/ 2147483646 h 298"/>
                <a:gd name="T44" fmla="*/ 2147483646 w 298"/>
                <a:gd name="T45" fmla="*/ 2147483646 h 298"/>
                <a:gd name="T46" fmla="*/ 2147483646 w 298"/>
                <a:gd name="T47" fmla="*/ 2147483646 h 298"/>
                <a:gd name="T48" fmla="*/ 2147483646 w 298"/>
                <a:gd name="T49" fmla="*/ 2147483646 h 298"/>
                <a:gd name="T50" fmla="*/ 2147483646 w 298"/>
                <a:gd name="T51" fmla="*/ 2147483646 h 298"/>
                <a:gd name="T52" fmla="*/ 2147483646 w 298"/>
                <a:gd name="T53" fmla="*/ 2147483646 h 298"/>
                <a:gd name="T54" fmla="*/ 2147483646 w 298"/>
                <a:gd name="T55" fmla="*/ 2147483646 h 298"/>
                <a:gd name="T56" fmla="*/ 2147483646 w 298"/>
                <a:gd name="T57" fmla="*/ 2147483646 h 298"/>
                <a:gd name="T58" fmla="*/ 2147483646 w 298"/>
                <a:gd name="T59" fmla="*/ 2147483646 h 298"/>
                <a:gd name="T60" fmla="*/ 2147483646 w 298"/>
                <a:gd name="T61" fmla="*/ 2147483646 h 298"/>
                <a:gd name="T62" fmla="*/ 2147483646 w 298"/>
                <a:gd name="T63" fmla="*/ 2147483646 h 298"/>
                <a:gd name="T64" fmla="*/ 2147483646 w 298"/>
                <a:gd name="T65" fmla="*/ 2147483646 h 298"/>
                <a:gd name="T66" fmla="*/ 2147483646 w 298"/>
                <a:gd name="T67" fmla="*/ 2147483646 h 298"/>
                <a:gd name="T68" fmla="*/ 2147483646 w 298"/>
                <a:gd name="T69" fmla="*/ 2147483646 h 298"/>
                <a:gd name="T70" fmla="*/ 2147483646 w 298"/>
                <a:gd name="T71" fmla="*/ 2147483646 h 298"/>
                <a:gd name="T72" fmla="*/ 2147483646 w 298"/>
                <a:gd name="T73" fmla="*/ 2147483646 h 298"/>
                <a:gd name="T74" fmla="*/ 2147483646 w 298"/>
                <a:gd name="T75" fmla="*/ 2147483646 h 298"/>
                <a:gd name="T76" fmla="*/ 2147483646 w 298"/>
                <a:gd name="T77" fmla="*/ 2147483646 h 298"/>
                <a:gd name="T78" fmla="*/ 2147483646 w 298"/>
                <a:gd name="T79" fmla="*/ 2147483646 h 298"/>
                <a:gd name="T80" fmla="*/ 2147483646 w 298"/>
                <a:gd name="T81" fmla="*/ 0 h 298"/>
                <a:gd name="T82" fmla="*/ 2147483646 w 298"/>
                <a:gd name="T83" fmla="*/ 2147483646 h 298"/>
                <a:gd name="T84" fmla="*/ 2147483646 w 298"/>
                <a:gd name="T85" fmla="*/ 2147483646 h 298"/>
                <a:gd name="T86" fmla="*/ 2147483646 w 298"/>
                <a:gd name="T87" fmla="*/ 2147483646 h 298"/>
                <a:gd name="T88" fmla="*/ 2147483646 w 298"/>
                <a:gd name="T89" fmla="*/ 2147483646 h 298"/>
                <a:gd name="T90" fmla="*/ 2147483646 w 298"/>
                <a:gd name="T91" fmla="*/ 2147483646 h 298"/>
                <a:gd name="T92" fmla="*/ 2147483646 w 298"/>
                <a:gd name="T93" fmla="*/ 2147483646 h 298"/>
                <a:gd name="T94" fmla="*/ 2147483646 w 298"/>
                <a:gd name="T95" fmla="*/ 2147483646 h 298"/>
                <a:gd name="T96" fmla="*/ 2147483646 w 298"/>
                <a:gd name="T97" fmla="*/ 2147483646 h 298"/>
                <a:gd name="T98" fmla="*/ 2147483646 w 298"/>
                <a:gd name="T99" fmla="*/ 2147483646 h 29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98" h="298">
                  <a:moveTo>
                    <a:pt x="181" y="117"/>
                  </a:moveTo>
                  <a:cubicBezTo>
                    <a:pt x="153" y="89"/>
                    <a:pt x="117" y="75"/>
                    <a:pt x="80" y="75"/>
                  </a:cubicBezTo>
                  <a:cubicBezTo>
                    <a:pt x="59" y="75"/>
                    <a:pt x="38" y="80"/>
                    <a:pt x="19" y="89"/>
                  </a:cubicBezTo>
                  <a:cubicBezTo>
                    <a:pt x="15" y="91"/>
                    <a:pt x="13" y="96"/>
                    <a:pt x="15" y="100"/>
                  </a:cubicBezTo>
                  <a:cubicBezTo>
                    <a:pt x="17" y="104"/>
                    <a:pt x="22" y="106"/>
                    <a:pt x="26" y="104"/>
                  </a:cubicBezTo>
                  <a:cubicBezTo>
                    <a:pt x="43" y="95"/>
                    <a:pt x="62" y="91"/>
                    <a:pt x="80" y="91"/>
                  </a:cubicBezTo>
                  <a:cubicBezTo>
                    <a:pt x="113" y="91"/>
                    <a:pt x="145" y="104"/>
                    <a:pt x="170" y="128"/>
                  </a:cubicBezTo>
                  <a:cubicBezTo>
                    <a:pt x="194" y="153"/>
                    <a:pt x="206" y="185"/>
                    <a:pt x="207" y="217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6" y="237"/>
                    <a:pt x="202" y="256"/>
                    <a:pt x="193" y="273"/>
                  </a:cubicBezTo>
                  <a:cubicBezTo>
                    <a:pt x="191" y="277"/>
                    <a:pt x="193" y="282"/>
                    <a:pt x="197" y="284"/>
                  </a:cubicBezTo>
                  <a:cubicBezTo>
                    <a:pt x="198" y="285"/>
                    <a:pt x="199" y="285"/>
                    <a:pt x="201" y="285"/>
                  </a:cubicBezTo>
                  <a:cubicBezTo>
                    <a:pt x="204" y="285"/>
                    <a:pt x="206" y="283"/>
                    <a:pt x="208" y="281"/>
                  </a:cubicBezTo>
                  <a:cubicBezTo>
                    <a:pt x="218" y="261"/>
                    <a:pt x="222" y="240"/>
                    <a:pt x="223" y="218"/>
                  </a:cubicBezTo>
                  <a:cubicBezTo>
                    <a:pt x="223" y="218"/>
                    <a:pt x="223" y="218"/>
                    <a:pt x="223" y="217"/>
                  </a:cubicBezTo>
                  <a:cubicBezTo>
                    <a:pt x="223" y="181"/>
                    <a:pt x="209" y="145"/>
                    <a:pt x="181" y="117"/>
                  </a:cubicBezTo>
                  <a:close/>
                  <a:moveTo>
                    <a:pt x="76" y="147"/>
                  </a:moveTo>
                  <a:cubicBezTo>
                    <a:pt x="34" y="147"/>
                    <a:pt x="0" y="181"/>
                    <a:pt x="0" y="222"/>
                  </a:cubicBezTo>
                  <a:cubicBezTo>
                    <a:pt x="0" y="264"/>
                    <a:pt x="34" y="298"/>
                    <a:pt x="76" y="298"/>
                  </a:cubicBezTo>
                  <a:cubicBezTo>
                    <a:pt x="117" y="298"/>
                    <a:pt x="151" y="264"/>
                    <a:pt x="151" y="222"/>
                  </a:cubicBezTo>
                  <a:cubicBezTo>
                    <a:pt x="151" y="181"/>
                    <a:pt x="117" y="147"/>
                    <a:pt x="76" y="147"/>
                  </a:cubicBezTo>
                  <a:close/>
                  <a:moveTo>
                    <a:pt x="76" y="282"/>
                  </a:moveTo>
                  <a:cubicBezTo>
                    <a:pt x="43" y="282"/>
                    <a:pt x="16" y="255"/>
                    <a:pt x="16" y="222"/>
                  </a:cubicBezTo>
                  <a:cubicBezTo>
                    <a:pt x="16" y="189"/>
                    <a:pt x="43" y="163"/>
                    <a:pt x="76" y="163"/>
                  </a:cubicBezTo>
                  <a:cubicBezTo>
                    <a:pt x="108" y="163"/>
                    <a:pt x="135" y="189"/>
                    <a:pt x="135" y="222"/>
                  </a:cubicBezTo>
                  <a:cubicBezTo>
                    <a:pt x="135" y="255"/>
                    <a:pt x="108" y="282"/>
                    <a:pt x="76" y="282"/>
                  </a:cubicBezTo>
                  <a:close/>
                  <a:moveTo>
                    <a:pt x="298" y="218"/>
                  </a:moveTo>
                  <a:cubicBezTo>
                    <a:pt x="298" y="218"/>
                    <a:pt x="298" y="218"/>
                    <a:pt x="298" y="218"/>
                  </a:cubicBezTo>
                  <a:cubicBezTo>
                    <a:pt x="298" y="170"/>
                    <a:pt x="280" y="118"/>
                    <a:pt x="245" y="75"/>
                  </a:cubicBezTo>
                  <a:cubicBezTo>
                    <a:pt x="242" y="71"/>
                    <a:pt x="237" y="71"/>
                    <a:pt x="234" y="74"/>
                  </a:cubicBezTo>
                  <a:cubicBezTo>
                    <a:pt x="230" y="77"/>
                    <a:pt x="230" y="82"/>
                    <a:pt x="233" y="85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66" y="125"/>
                    <a:pt x="282" y="174"/>
                    <a:pt x="282" y="218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2" y="238"/>
                    <a:pt x="279" y="257"/>
                    <a:pt x="274" y="276"/>
                  </a:cubicBezTo>
                  <a:cubicBezTo>
                    <a:pt x="272" y="280"/>
                    <a:pt x="275" y="284"/>
                    <a:pt x="279" y="286"/>
                  </a:cubicBezTo>
                  <a:cubicBezTo>
                    <a:pt x="280" y="286"/>
                    <a:pt x="281" y="286"/>
                    <a:pt x="281" y="286"/>
                  </a:cubicBezTo>
                  <a:cubicBezTo>
                    <a:pt x="285" y="286"/>
                    <a:pt x="288" y="284"/>
                    <a:pt x="289" y="280"/>
                  </a:cubicBezTo>
                  <a:cubicBezTo>
                    <a:pt x="295" y="260"/>
                    <a:pt x="298" y="239"/>
                    <a:pt x="298" y="218"/>
                  </a:cubicBezTo>
                  <a:close/>
                  <a:moveTo>
                    <a:pt x="222" y="51"/>
                  </a:moveTo>
                  <a:cubicBezTo>
                    <a:pt x="180" y="17"/>
                    <a:pt x="128" y="0"/>
                    <a:pt x="80" y="0"/>
                  </a:cubicBezTo>
                  <a:cubicBezTo>
                    <a:pt x="59" y="0"/>
                    <a:pt x="38" y="3"/>
                    <a:pt x="18" y="9"/>
                  </a:cubicBezTo>
                  <a:cubicBezTo>
                    <a:pt x="13" y="10"/>
                    <a:pt x="11" y="15"/>
                    <a:pt x="12" y="19"/>
                  </a:cubicBezTo>
                  <a:cubicBezTo>
                    <a:pt x="14" y="23"/>
                    <a:pt x="18" y="25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41" y="18"/>
                    <a:pt x="61" y="16"/>
                    <a:pt x="80" y="16"/>
                  </a:cubicBezTo>
                  <a:cubicBezTo>
                    <a:pt x="124" y="16"/>
                    <a:pt x="173" y="32"/>
                    <a:pt x="212" y="64"/>
                  </a:cubicBezTo>
                  <a:cubicBezTo>
                    <a:pt x="214" y="65"/>
                    <a:pt x="215" y="65"/>
                    <a:pt x="217" y="65"/>
                  </a:cubicBezTo>
                  <a:cubicBezTo>
                    <a:pt x="220" y="65"/>
                    <a:pt x="222" y="64"/>
                    <a:pt x="223" y="63"/>
                  </a:cubicBezTo>
                  <a:cubicBezTo>
                    <a:pt x="226" y="59"/>
                    <a:pt x="226" y="54"/>
                    <a:pt x="222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5419725" y="3373438"/>
            <a:ext cx="1447800" cy="25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285F"/>
                </a:solidFill>
              </a14:hiddenFill>
            </a:ext>
          </a:extLst>
        </p:spPr>
        <p:txBody>
          <a:bodyPr wrap="none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NETWORK SLICING</a:t>
            </a:r>
          </a:p>
        </p:txBody>
      </p:sp>
      <p:grpSp>
        <p:nvGrpSpPr>
          <p:cNvPr id="15404" name="Group 57"/>
          <p:cNvGrpSpPr>
            <a:grpSpLocks/>
          </p:cNvGrpSpPr>
          <p:nvPr/>
        </p:nvGrpSpPr>
        <p:grpSpPr bwMode="auto">
          <a:xfrm>
            <a:off x="6870700" y="3392488"/>
            <a:ext cx="3090863" cy="187325"/>
            <a:chOff x="7613195" y="3441791"/>
            <a:chExt cx="2347574" cy="187210"/>
          </a:xfrm>
        </p:grpSpPr>
        <p:cxnSp>
          <p:nvCxnSpPr>
            <p:cNvPr id="148" name="Straight Connector 60"/>
            <p:cNvCxnSpPr>
              <a:cxnSpLocks noChangeShapeType="1"/>
            </p:cNvCxnSpPr>
            <p:nvPr>
              <p:custDataLst>
                <p:tags r:id="rId26"/>
              </p:custDataLst>
            </p:nvPr>
          </p:nvCxnSpPr>
          <p:spPr bwMode="auto">
            <a:xfrm>
              <a:off x="7613195" y="3441791"/>
              <a:ext cx="2347574" cy="15865"/>
            </a:xfrm>
            <a:prstGeom prst="line">
              <a:avLst/>
            </a:prstGeom>
            <a:noFill/>
            <a:ln w="28575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9" name="Straight Connector 61"/>
            <p:cNvCxnSpPr>
              <a:cxnSpLocks noChangeShapeType="1"/>
            </p:cNvCxnSpPr>
            <p:nvPr>
              <p:custDataLst>
                <p:tags r:id="rId27"/>
              </p:custDataLst>
            </p:nvPr>
          </p:nvCxnSpPr>
          <p:spPr bwMode="auto">
            <a:xfrm>
              <a:off x="7613195" y="3535396"/>
              <a:ext cx="2347574" cy="0"/>
            </a:xfrm>
            <a:prstGeom prst="line">
              <a:avLst/>
            </a:prstGeom>
            <a:noFill/>
            <a:ln w="28575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0" name="Straight Connector 62"/>
            <p:cNvCxnSpPr>
              <a:cxnSpLocks noChangeShapeType="1"/>
            </p:cNvCxnSpPr>
            <p:nvPr>
              <p:custDataLst>
                <p:tags r:id="rId28"/>
              </p:custDataLst>
            </p:nvPr>
          </p:nvCxnSpPr>
          <p:spPr bwMode="auto">
            <a:xfrm>
              <a:off x="7613195" y="3629001"/>
              <a:ext cx="2347574" cy="0"/>
            </a:xfrm>
            <a:prstGeom prst="line">
              <a:avLst/>
            </a:prstGeom>
            <a:noFill/>
            <a:ln w="28575" cap="rnd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15405" name="Group 157"/>
          <p:cNvGrpSpPr>
            <a:grpSpLocks/>
          </p:cNvGrpSpPr>
          <p:nvPr/>
        </p:nvGrpSpPr>
        <p:grpSpPr bwMode="auto">
          <a:xfrm>
            <a:off x="3346450" y="4443413"/>
            <a:ext cx="323850" cy="312737"/>
            <a:chOff x="10080561" y="5420759"/>
            <a:chExt cx="324000" cy="324000"/>
          </a:xfrm>
        </p:grpSpPr>
        <p:sp>
          <p:nvSpPr>
            <p:cNvPr id="15411" name="Oval 158"/>
            <p:cNvSpPr>
              <a:spLocks noChangeAspect="1"/>
            </p:cNvSpPr>
            <p:nvPr/>
          </p:nvSpPr>
          <p:spPr bwMode="auto">
            <a:xfrm>
              <a:off x="10080561" y="5420759"/>
              <a:ext cx="324000" cy="324000"/>
            </a:xfrm>
            <a:prstGeom prst="ellipse">
              <a:avLst/>
            </a:prstGeom>
            <a:noFill/>
            <a:ln w="25400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08A00"/>
                  </a:solidFill>
                </a14:hiddenFill>
              </a:ext>
            </a:extLst>
          </p:spPr>
          <p:txBody>
            <a:bodyPr wrap="none" lIns="72000" rIns="72000"/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sv-SE" sz="2000" b="0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412" name="Freeform 6"/>
            <p:cNvSpPr>
              <a:spLocks noChangeAspect="1" noEditPoints="1"/>
            </p:cNvSpPr>
            <p:nvPr/>
          </p:nvSpPr>
          <p:spPr bwMode="auto">
            <a:xfrm>
              <a:off x="10168519" y="5482340"/>
              <a:ext cx="174462" cy="174462"/>
            </a:xfrm>
            <a:custGeom>
              <a:avLst/>
              <a:gdLst>
                <a:gd name="T0" fmla="*/ 2147483646 w 298"/>
                <a:gd name="T1" fmla="*/ 2147483646 h 298"/>
                <a:gd name="T2" fmla="*/ 2147483646 w 298"/>
                <a:gd name="T3" fmla="*/ 2147483646 h 298"/>
                <a:gd name="T4" fmla="*/ 2147483646 w 298"/>
                <a:gd name="T5" fmla="*/ 2147483646 h 298"/>
                <a:gd name="T6" fmla="*/ 2147483646 w 298"/>
                <a:gd name="T7" fmla="*/ 2147483646 h 298"/>
                <a:gd name="T8" fmla="*/ 2147483646 w 298"/>
                <a:gd name="T9" fmla="*/ 2147483646 h 298"/>
                <a:gd name="T10" fmla="*/ 2147483646 w 298"/>
                <a:gd name="T11" fmla="*/ 2147483646 h 298"/>
                <a:gd name="T12" fmla="*/ 2147483646 w 298"/>
                <a:gd name="T13" fmla="*/ 2147483646 h 298"/>
                <a:gd name="T14" fmla="*/ 2147483646 w 298"/>
                <a:gd name="T15" fmla="*/ 2147483646 h 298"/>
                <a:gd name="T16" fmla="*/ 2147483646 w 298"/>
                <a:gd name="T17" fmla="*/ 2147483646 h 298"/>
                <a:gd name="T18" fmla="*/ 2147483646 w 298"/>
                <a:gd name="T19" fmla="*/ 2147483646 h 298"/>
                <a:gd name="T20" fmla="*/ 2147483646 w 298"/>
                <a:gd name="T21" fmla="*/ 2147483646 h 298"/>
                <a:gd name="T22" fmla="*/ 2147483646 w 298"/>
                <a:gd name="T23" fmla="*/ 2147483646 h 298"/>
                <a:gd name="T24" fmla="*/ 2147483646 w 298"/>
                <a:gd name="T25" fmla="*/ 2147483646 h 298"/>
                <a:gd name="T26" fmla="*/ 2147483646 w 298"/>
                <a:gd name="T27" fmla="*/ 2147483646 h 298"/>
                <a:gd name="T28" fmla="*/ 2147483646 w 298"/>
                <a:gd name="T29" fmla="*/ 2147483646 h 298"/>
                <a:gd name="T30" fmla="*/ 2147483646 w 298"/>
                <a:gd name="T31" fmla="*/ 2147483646 h 298"/>
                <a:gd name="T32" fmla="*/ 2147483646 w 298"/>
                <a:gd name="T33" fmla="*/ 2147483646 h 298"/>
                <a:gd name="T34" fmla="*/ 0 w 298"/>
                <a:gd name="T35" fmla="*/ 2147483646 h 298"/>
                <a:gd name="T36" fmla="*/ 2147483646 w 298"/>
                <a:gd name="T37" fmla="*/ 2147483646 h 298"/>
                <a:gd name="T38" fmla="*/ 2147483646 w 298"/>
                <a:gd name="T39" fmla="*/ 2147483646 h 298"/>
                <a:gd name="T40" fmla="*/ 2147483646 w 298"/>
                <a:gd name="T41" fmla="*/ 2147483646 h 298"/>
                <a:gd name="T42" fmla="*/ 2147483646 w 298"/>
                <a:gd name="T43" fmla="*/ 2147483646 h 298"/>
                <a:gd name="T44" fmla="*/ 2147483646 w 298"/>
                <a:gd name="T45" fmla="*/ 2147483646 h 298"/>
                <a:gd name="T46" fmla="*/ 2147483646 w 298"/>
                <a:gd name="T47" fmla="*/ 2147483646 h 298"/>
                <a:gd name="T48" fmla="*/ 2147483646 w 298"/>
                <a:gd name="T49" fmla="*/ 2147483646 h 298"/>
                <a:gd name="T50" fmla="*/ 2147483646 w 298"/>
                <a:gd name="T51" fmla="*/ 2147483646 h 298"/>
                <a:gd name="T52" fmla="*/ 2147483646 w 298"/>
                <a:gd name="T53" fmla="*/ 2147483646 h 298"/>
                <a:gd name="T54" fmla="*/ 2147483646 w 298"/>
                <a:gd name="T55" fmla="*/ 2147483646 h 298"/>
                <a:gd name="T56" fmla="*/ 2147483646 w 298"/>
                <a:gd name="T57" fmla="*/ 2147483646 h 298"/>
                <a:gd name="T58" fmla="*/ 2147483646 w 298"/>
                <a:gd name="T59" fmla="*/ 2147483646 h 298"/>
                <a:gd name="T60" fmla="*/ 2147483646 w 298"/>
                <a:gd name="T61" fmla="*/ 2147483646 h 298"/>
                <a:gd name="T62" fmla="*/ 2147483646 w 298"/>
                <a:gd name="T63" fmla="*/ 2147483646 h 298"/>
                <a:gd name="T64" fmla="*/ 2147483646 w 298"/>
                <a:gd name="T65" fmla="*/ 2147483646 h 298"/>
                <a:gd name="T66" fmla="*/ 2147483646 w 298"/>
                <a:gd name="T67" fmla="*/ 2147483646 h 298"/>
                <a:gd name="T68" fmla="*/ 2147483646 w 298"/>
                <a:gd name="T69" fmla="*/ 2147483646 h 298"/>
                <a:gd name="T70" fmla="*/ 2147483646 w 298"/>
                <a:gd name="T71" fmla="*/ 2147483646 h 298"/>
                <a:gd name="T72" fmla="*/ 2147483646 w 298"/>
                <a:gd name="T73" fmla="*/ 2147483646 h 298"/>
                <a:gd name="T74" fmla="*/ 2147483646 w 298"/>
                <a:gd name="T75" fmla="*/ 2147483646 h 298"/>
                <a:gd name="T76" fmla="*/ 2147483646 w 298"/>
                <a:gd name="T77" fmla="*/ 2147483646 h 298"/>
                <a:gd name="T78" fmla="*/ 2147483646 w 298"/>
                <a:gd name="T79" fmla="*/ 2147483646 h 298"/>
                <a:gd name="T80" fmla="*/ 2147483646 w 298"/>
                <a:gd name="T81" fmla="*/ 0 h 298"/>
                <a:gd name="T82" fmla="*/ 2147483646 w 298"/>
                <a:gd name="T83" fmla="*/ 2147483646 h 298"/>
                <a:gd name="T84" fmla="*/ 2147483646 w 298"/>
                <a:gd name="T85" fmla="*/ 2147483646 h 298"/>
                <a:gd name="T86" fmla="*/ 2147483646 w 298"/>
                <a:gd name="T87" fmla="*/ 2147483646 h 298"/>
                <a:gd name="T88" fmla="*/ 2147483646 w 298"/>
                <a:gd name="T89" fmla="*/ 2147483646 h 298"/>
                <a:gd name="T90" fmla="*/ 2147483646 w 298"/>
                <a:gd name="T91" fmla="*/ 2147483646 h 298"/>
                <a:gd name="T92" fmla="*/ 2147483646 w 298"/>
                <a:gd name="T93" fmla="*/ 2147483646 h 298"/>
                <a:gd name="T94" fmla="*/ 2147483646 w 298"/>
                <a:gd name="T95" fmla="*/ 2147483646 h 298"/>
                <a:gd name="T96" fmla="*/ 2147483646 w 298"/>
                <a:gd name="T97" fmla="*/ 2147483646 h 298"/>
                <a:gd name="T98" fmla="*/ 2147483646 w 298"/>
                <a:gd name="T99" fmla="*/ 2147483646 h 29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98" h="298">
                  <a:moveTo>
                    <a:pt x="181" y="117"/>
                  </a:moveTo>
                  <a:cubicBezTo>
                    <a:pt x="153" y="89"/>
                    <a:pt x="117" y="75"/>
                    <a:pt x="80" y="75"/>
                  </a:cubicBezTo>
                  <a:cubicBezTo>
                    <a:pt x="59" y="75"/>
                    <a:pt x="38" y="80"/>
                    <a:pt x="19" y="89"/>
                  </a:cubicBezTo>
                  <a:cubicBezTo>
                    <a:pt x="15" y="91"/>
                    <a:pt x="13" y="96"/>
                    <a:pt x="15" y="100"/>
                  </a:cubicBezTo>
                  <a:cubicBezTo>
                    <a:pt x="17" y="104"/>
                    <a:pt x="22" y="106"/>
                    <a:pt x="26" y="104"/>
                  </a:cubicBezTo>
                  <a:cubicBezTo>
                    <a:pt x="43" y="95"/>
                    <a:pt x="62" y="91"/>
                    <a:pt x="80" y="91"/>
                  </a:cubicBezTo>
                  <a:cubicBezTo>
                    <a:pt x="113" y="91"/>
                    <a:pt x="145" y="104"/>
                    <a:pt x="170" y="128"/>
                  </a:cubicBezTo>
                  <a:cubicBezTo>
                    <a:pt x="194" y="153"/>
                    <a:pt x="206" y="185"/>
                    <a:pt x="207" y="217"/>
                  </a:cubicBezTo>
                  <a:cubicBezTo>
                    <a:pt x="207" y="218"/>
                    <a:pt x="207" y="218"/>
                    <a:pt x="207" y="218"/>
                  </a:cubicBezTo>
                  <a:cubicBezTo>
                    <a:pt x="206" y="237"/>
                    <a:pt x="202" y="256"/>
                    <a:pt x="193" y="273"/>
                  </a:cubicBezTo>
                  <a:cubicBezTo>
                    <a:pt x="191" y="277"/>
                    <a:pt x="193" y="282"/>
                    <a:pt x="197" y="284"/>
                  </a:cubicBezTo>
                  <a:cubicBezTo>
                    <a:pt x="198" y="285"/>
                    <a:pt x="199" y="285"/>
                    <a:pt x="201" y="285"/>
                  </a:cubicBezTo>
                  <a:cubicBezTo>
                    <a:pt x="204" y="285"/>
                    <a:pt x="206" y="283"/>
                    <a:pt x="208" y="281"/>
                  </a:cubicBezTo>
                  <a:cubicBezTo>
                    <a:pt x="218" y="261"/>
                    <a:pt x="222" y="240"/>
                    <a:pt x="223" y="218"/>
                  </a:cubicBezTo>
                  <a:cubicBezTo>
                    <a:pt x="223" y="218"/>
                    <a:pt x="223" y="218"/>
                    <a:pt x="223" y="217"/>
                  </a:cubicBezTo>
                  <a:cubicBezTo>
                    <a:pt x="223" y="181"/>
                    <a:pt x="209" y="145"/>
                    <a:pt x="181" y="117"/>
                  </a:cubicBezTo>
                  <a:close/>
                  <a:moveTo>
                    <a:pt x="76" y="147"/>
                  </a:moveTo>
                  <a:cubicBezTo>
                    <a:pt x="34" y="147"/>
                    <a:pt x="0" y="181"/>
                    <a:pt x="0" y="222"/>
                  </a:cubicBezTo>
                  <a:cubicBezTo>
                    <a:pt x="0" y="264"/>
                    <a:pt x="34" y="298"/>
                    <a:pt x="76" y="298"/>
                  </a:cubicBezTo>
                  <a:cubicBezTo>
                    <a:pt x="117" y="298"/>
                    <a:pt x="151" y="264"/>
                    <a:pt x="151" y="222"/>
                  </a:cubicBezTo>
                  <a:cubicBezTo>
                    <a:pt x="151" y="181"/>
                    <a:pt x="117" y="147"/>
                    <a:pt x="76" y="147"/>
                  </a:cubicBezTo>
                  <a:close/>
                  <a:moveTo>
                    <a:pt x="76" y="282"/>
                  </a:moveTo>
                  <a:cubicBezTo>
                    <a:pt x="43" y="282"/>
                    <a:pt x="16" y="255"/>
                    <a:pt x="16" y="222"/>
                  </a:cubicBezTo>
                  <a:cubicBezTo>
                    <a:pt x="16" y="189"/>
                    <a:pt x="43" y="163"/>
                    <a:pt x="76" y="163"/>
                  </a:cubicBezTo>
                  <a:cubicBezTo>
                    <a:pt x="108" y="163"/>
                    <a:pt x="135" y="189"/>
                    <a:pt x="135" y="222"/>
                  </a:cubicBezTo>
                  <a:cubicBezTo>
                    <a:pt x="135" y="255"/>
                    <a:pt x="108" y="282"/>
                    <a:pt x="76" y="282"/>
                  </a:cubicBezTo>
                  <a:close/>
                  <a:moveTo>
                    <a:pt x="298" y="218"/>
                  </a:moveTo>
                  <a:cubicBezTo>
                    <a:pt x="298" y="218"/>
                    <a:pt x="298" y="218"/>
                    <a:pt x="298" y="218"/>
                  </a:cubicBezTo>
                  <a:cubicBezTo>
                    <a:pt x="298" y="170"/>
                    <a:pt x="280" y="118"/>
                    <a:pt x="245" y="75"/>
                  </a:cubicBezTo>
                  <a:cubicBezTo>
                    <a:pt x="242" y="71"/>
                    <a:pt x="237" y="71"/>
                    <a:pt x="234" y="74"/>
                  </a:cubicBezTo>
                  <a:cubicBezTo>
                    <a:pt x="230" y="77"/>
                    <a:pt x="230" y="82"/>
                    <a:pt x="233" y="85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66" y="125"/>
                    <a:pt x="282" y="174"/>
                    <a:pt x="282" y="218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2" y="238"/>
                    <a:pt x="279" y="257"/>
                    <a:pt x="274" y="276"/>
                  </a:cubicBezTo>
                  <a:cubicBezTo>
                    <a:pt x="272" y="280"/>
                    <a:pt x="275" y="284"/>
                    <a:pt x="279" y="286"/>
                  </a:cubicBezTo>
                  <a:cubicBezTo>
                    <a:pt x="280" y="286"/>
                    <a:pt x="281" y="286"/>
                    <a:pt x="281" y="286"/>
                  </a:cubicBezTo>
                  <a:cubicBezTo>
                    <a:pt x="285" y="286"/>
                    <a:pt x="288" y="284"/>
                    <a:pt x="289" y="280"/>
                  </a:cubicBezTo>
                  <a:cubicBezTo>
                    <a:pt x="295" y="260"/>
                    <a:pt x="298" y="239"/>
                    <a:pt x="298" y="218"/>
                  </a:cubicBezTo>
                  <a:close/>
                  <a:moveTo>
                    <a:pt x="222" y="51"/>
                  </a:moveTo>
                  <a:cubicBezTo>
                    <a:pt x="180" y="17"/>
                    <a:pt x="128" y="0"/>
                    <a:pt x="80" y="0"/>
                  </a:cubicBezTo>
                  <a:cubicBezTo>
                    <a:pt x="59" y="0"/>
                    <a:pt x="38" y="3"/>
                    <a:pt x="18" y="9"/>
                  </a:cubicBezTo>
                  <a:cubicBezTo>
                    <a:pt x="13" y="10"/>
                    <a:pt x="11" y="15"/>
                    <a:pt x="12" y="19"/>
                  </a:cubicBezTo>
                  <a:cubicBezTo>
                    <a:pt x="14" y="23"/>
                    <a:pt x="18" y="25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41" y="18"/>
                    <a:pt x="61" y="16"/>
                    <a:pt x="80" y="16"/>
                  </a:cubicBezTo>
                  <a:cubicBezTo>
                    <a:pt x="124" y="16"/>
                    <a:pt x="173" y="32"/>
                    <a:pt x="212" y="64"/>
                  </a:cubicBezTo>
                  <a:cubicBezTo>
                    <a:pt x="214" y="65"/>
                    <a:pt x="215" y="65"/>
                    <a:pt x="217" y="65"/>
                  </a:cubicBezTo>
                  <a:cubicBezTo>
                    <a:pt x="220" y="65"/>
                    <a:pt x="222" y="64"/>
                    <a:pt x="223" y="63"/>
                  </a:cubicBezTo>
                  <a:cubicBezTo>
                    <a:pt x="226" y="59"/>
                    <a:pt x="226" y="54"/>
                    <a:pt x="222" y="5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406" name="Freeform 7"/>
          <p:cNvSpPr>
            <a:spLocks noChangeAspect="1"/>
          </p:cNvSpPr>
          <p:nvPr/>
        </p:nvSpPr>
        <p:spPr bwMode="auto">
          <a:xfrm>
            <a:off x="2532063" y="5394325"/>
            <a:ext cx="7453312" cy="685800"/>
          </a:xfrm>
          <a:custGeom>
            <a:avLst/>
            <a:gdLst>
              <a:gd name="T0" fmla="*/ 2147483646 w 2234"/>
              <a:gd name="T1" fmla="*/ 2147483646 h 227"/>
              <a:gd name="T2" fmla="*/ 0 w 2234"/>
              <a:gd name="T3" fmla="*/ 2147483646 h 227"/>
              <a:gd name="T4" fmla="*/ 0 w 2234"/>
              <a:gd name="T5" fmla="*/ 2147483646 h 227"/>
              <a:gd name="T6" fmla="*/ 0 w 2234"/>
              <a:gd name="T7" fmla="*/ 2147483646 h 227"/>
              <a:gd name="T8" fmla="*/ 2147483646 w 2234"/>
              <a:gd name="T9" fmla="*/ 0 h 227"/>
              <a:gd name="T10" fmla="*/ 2147483646 w 2234"/>
              <a:gd name="T11" fmla="*/ 0 h 227"/>
              <a:gd name="T12" fmla="*/ 2147483646 w 2234"/>
              <a:gd name="T13" fmla="*/ 0 h 227"/>
              <a:gd name="T14" fmla="*/ 2147483646 w 2234"/>
              <a:gd name="T15" fmla="*/ 2147483646 h 227"/>
              <a:gd name="T16" fmla="*/ 2147483646 w 2234"/>
              <a:gd name="T17" fmla="*/ 2147483646 h 227"/>
              <a:gd name="T18" fmla="*/ 2147483646 w 2234"/>
              <a:gd name="T19" fmla="*/ 2147483646 h 227"/>
              <a:gd name="T20" fmla="*/ 2147483646 w 2234"/>
              <a:gd name="T21" fmla="*/ 2147483646 h 227"/>
              <a:gd name="T22" fmla="*/ 2147483646 w 2234"/>
              <a:gd name="T23" fmla="*/ 2147483646 h 227"/>
              <a:gd name="T24" fmla="*/ 2147483646 w 2234"/>
              <a:gd name="T25" fmla="*/ 2147483646 h 227"/>
              <a:gd name="T26" fmla="*/ 2147483646 w 2234"/>
              <a:gd name="T27" fmla="*/ 2147483646 h 227"/>
              <a:gd name="T28" fmla="*/ 2147483646 w 2234"/>
              <a:gd name="T29" fmla="*/ 2147483646 h 227"/>
              <a:gd name="T30" fmla="*/ 2147483646 w 2234"/>
              <a:gd name="T31" fmla="*/ 2147483646 h 227"/>
              <a:gd name="T32" fmla="*/ 2147483646 w 2234"/>
              <a:gd name="T33" fmla="*/ 2147483646 h 227"/>
              <a:gd name="T34" fmla="*/ 2147483646 w 2234"/>
              <a:gd name="T35" fmla="*/ 2147483646 h 227"/>
              <a:gd name="T36" fmla="*/ 2147483646 w 2234"/>
              <a:gd name="T37" fmla="*/ 2147483646 h 227"/>
              <a:gd name="T38" fmla="*/ 2147483646 w 2234"/>
              <a:gd name="T39" fmla="*/ 2147483646 h 227"/>
              <a:gd name="T40" fmla="*/ 2147483646 w 2234"/>
              <a:gd name="T41" fmla="*/ 2147483646 h 227"/>
              <a:gd name="T42" fmla="*/ 2147483646 w 2234"/>
              <a:gd name="T43" fmla="*/ 2147483646 h 227"/>
              <a:gd name="T44" fmla="*/ 2147483646 w 2234"/>
              <a:gd name="T45" fmla="*/ 2147483646 h 227"/>
              <a:gd name="T46" fmla="*/ 2147483646 w 2234"/>
              <a:gd name="T47" fmla="*/ 2147483646 h 227"/>
              <a:gd name="T48" fmla="*/ 2147483646 w 2234"/>
              <a:gd name="T49" fmla="*/ 2147483646 h 227"/>
              <a:gd name="T50" fmla="*/ 2147483646 w 2234"/>
              <a:gd name="T51" fmla="*/ 2147483646 h 227"/>
              <a:gd name="T52" fmla="*/ 2147483646 w 2234"/>
              <a:gd name="T53" fmla="*/ 2147483646 h 227"/>
              <a:gd name="T54" fmla="*/ 2147483646 w 2234"/>
              <a:gd name="T55" fmla="*/ 2147483646 h 227"/>
              <a:gd name="T56" fmla="*/ 2147483646 w 2234"/>
              <a:gd name="T57" fmla="*/ 2147483646 h 227"/>
              <a:gd name="T58" fmla="*/ 2147483646 w 2234"/>
              <a:gd name="T59" fmla="*/ 2147483646 h 227"/>
              <a:gd name="T60" fmla="*/ 2147483646 w 2234"/>
              <a:gd name="T61" fmla="*/ 2147483646 h 227"/>
              <a:gd name="T62" fmla="*/ 2147483646 w 2234"/>
              <a:gd name="T63" fmla="*/ 2147483646 h 227"/>
              <a:gd name="T64" fmla="*/ 2147483646 w 2234"/>
              <a:gd name="T65" fmla="*/ 2147483646 h 227"/>
              <a:gd name="T66" fmla="*/ 2147483646 w 2234"/>
              <a:gd name="T67" fmla="*/ 2147483646 h 227"/>
              <a:gd name="T68" fmla="*/ 2147483646 w 2234"/>
              <a:gd name="T69" fmla="*/ 2147483646 h 227"/>
              <a:gd name="T70" fmla="*/ 2147483646 w 2234"/>
              <a:gd name="T71" fmla="*/ 2147483646 h 22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34"/>
              <a:gd name="T109" fmla="*/ 0 h 227"/>
              <a:gd name="T110" fmla="*/ 2234 w 2234"/>
              <a:gd name="T111" fmla="*/ 227 h 22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34" h="227">
                <a:moveTo>
                  <a:pt x="31" y="227"/>
                </a:moveTo>
                <a:cubicBezTo>
                  <a:pt x="14" y="227"/>
                  <a:pt x="0" y="213"/>
                  <a:pt x="0" y="196"/>
                </a:cubicBezTo>
                <a:cubicBezTo>
                  <a:pt x="0" y="196"/>
                  <a:pt x="0" y="196"/>
                  <a:pt x="0" y="196"/>
                </a:cubicBezTo>
                <a:cubicBezTo>
                  <a:pt x="0" y="30"/>
                  <a:pt x="0" y="30"/>
                  <a:pt x="0" y="30"/>
                </a:cubicBezTo>
                <a:cubicBezTo>
                  <a:pt x="0" y="13"/>
                  <a:pt x="14" y="0"/>
                  <a:pt x="31" y="0"/>
                </a:cubicBezTo>
                <a:cubicBezTo>
                  <a:pt x="31" y="0"/>
                  <a:pt x="31" y="0"/>
                  <a:pt x="31" y="0"/>
                </a:cubicBezTo>
                <a:cubicBezTo>
                  <a:pt x="2203" y="0"/>
                  <a:pt x="2203" y="0"/>
                  <a:pt x="2203" y="0"/>
                </a:cubicBezTo>
                <a:cubicBezTo>
                  <a:pt x="2220" y="0"/>
                  <a:pt x="2234" y="13"/>
                  <a:pt x="2234" y="30"/>
                </a:cubicBezTo>
                <a:cubicBezTo>
                  <a:pt x="2234" y="30"/>
                  <a:pt x="2234" y="30"/>
                  <a:pt x="2234" y="30"/>
                </a:cubicBezTo>
                <a:cubicBezTo>
                  <a:pt x="2234" y="52"/>
                  <a:pt x="2234" y="52"/>
                  <a:pt x="2234" y="52"/>
                </a:cubicBezTo>
                <a:cubicBezTo>
                  <a:pt x="2234" y="57"/>
                  <a:pt x="2230" y="60"/>
                  <a:pt x="2226" y="60"/>
                </a:cubicBezTo>
                <a:cubicBezTo>
                  <a:pt x="2226" y="60"/>
                  <a:pt x="2226" y="60"/>
                  <a:pt x="2226" y="60"/>
                </a:cubicBezTo>
                <a:cubicBezTo>
                  <a:pt x="2221" y="60"/>
                  <a:pt x="2218" y="57"/>
                  <a:pt x="2218" y="52"/>
                </a:cubicBezTo>
                <a:cubicBezTo>
                  <a:pt x="2218" y="52"/>
                  <a:pt x="2218" y="52"/>
                  <a:pt x="2218" y="52"/>
                </a:cubicBezTo>
                <a:cubicBezTo>
                  <a:pt x="2218" y="30"/>
                  <a:pt x="2218" y="30"/>
                  <a:pt x="2218" y="30"/>
                </a:cubicBezTo>
                <a:cubicBezTo>
                  <a:pt x="2218" y="22"/>
                  <a:pt x="2211" y="16"/>
                  <a:pt x="2203" y="16"/>
                </a:cubicBezTo>
                <a:cubicBezTo>
                  <a:pt x="2203" y="16"/>
                  <a:pt x="2203" y="16"/>
                  <a:pt x="2203" y="16"/>
                </a:cubicBezTo>
                <a:cubicBezTo>
                  <a:pt x="31" y="16"/>
                  <a:pt x="31" y="16"/>
                  <a:pt x="31" y="16"/>
                </a:cubicBezTo>
                <a:cubicBezTo>
                  <a:pt x="23" y="16"/>
                  <a:pt x="16" y="22"/>
                  <a:pt x="16" y="30"/>
                </a:cubicBezTo>
                <a:cubicBezTo>
                  <a:pt x="16" y="30"/>
                  <a:pt x="16" y="30"/>
                  <a:pt x="16" y="30"/>
                </a:cubicBezTo>
                <a:cubicBezTo>
                  <a:pt x="16" y="196"/>
                  <a:pt x="16" y="196"/>
                  <a:pt x="16" y="196"/>
                </a:cubicBezTo>
                <a:cubicBezTo>
                  <a:pt x="16" y="204"/>
                  <a:pt x="23" y="211"/>
                  <a:pt x="31" y="211"/>
                </a:cubicBezTo>
                <a:cubicBezTo>
                  <a:pt x="31" y="211"/>
                  <a:pt x="31" y="211"/>
                  <a:pt x="31" y="211"/>
                </a:cubicBezTo>
                <a:cubicBezTo>
                  <a:pt x="2203" y="211"/>
                  <a:pt x="2203" y="211"/>
                  <a:pt x="2203" y="211"/>
                </a:cubicBezTo>
                <a:cubicBezTo>
                  <a:pt x="2211" y="211"/>
                  <a:pt x="2218" y="204"/>
                  <a:pt x="2218" y="196"/>
                </a:cubicBezTo>
                <a:cubicBezTo>
                  <a:pt x="2218" y="196"/>
                  <a:pt x="2218" y="196"/>
                  <a:pt x="2218" y="196"/>
                </a:cubicBezTo>
                <a:cubicBezTo>
                  <a:pt x="2218" y="82"/>
                  <a:pt x="2218" y="82"/>
                  <a:pt x="2218" y="82"/>
                </a:cubicBezTo>
                <a:cubicBezTo>
                  <a:pt x="2218" y="82"/>
                  <a:pt x="2218" y="82"/>
                  <a:pt x="2218" y="82"/>
                </a:cubicBezTo>
                <a:cubicBezTo>
                  <a:pt x="2218" y="78"/>
                  <a:pt x="2221" y="74"/>
                  <a:pt x="2226" y="74"/>
                </a:cubicBezTo>
                <a:cubicBezTo>
                  <a:pt x="2226" y="74"/>
                  <a:pt x="2226" y="74"/>
                  <a:pt x="2226" y="74"/>
                </a:cubicBezTo>
                <a:cubicBezTo>
                  <a:pt x="2230" y="74"/>
                  <a:pt x="2234" y="78"/>
                  <a:pt x="2234" y="82"/>
                </a:cubicBezTo>
                <a:cubicBezTo>
                  <a:pt x="2234" y="82"/>
                  <a:pt x="2234" y="82"/>
                  <a:pt x="2234" y="82"/>
                </a:cubicBezTo>
                <a:cubicBezTo>
                  <a:pt x="2234" y="196"/>
                  <a:pt x="2234" y="196"/>
                  <a:pt x="2234" y="196"/>
                </a:cubicBezTo>
                <a:cubicBezTo>
                  <a:pt x="2234" y="213"/>
                  <a:pt x="2220" y="227"/>
                  <a:pt x="2203" y="227"/>
                </a:cubicBezTo>
                <a:cubicBezTo>
                  <a:pt x="2203" y="227"/>
                  <a:pt x="2203" y="227"/>
                  <a:pt x="2203" y="227"/>
                </a:cubicBezTo>
                <a:cubicBezTo>
                  <a:pt x="31" y="227"/>
                  <a:pt x="31" y="227"/>
                  <a:pt x="31" y="22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126000" tIns="82800" rIns="126000" anchor="ctr"/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sv-SE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</a:rPr>
              <a:t>Transport</a:t>
            </a:r>
          </a:p>
        </p:txBody>
      </p:sp>
      <p:sp>
        <p:nvSpPr>
          <p:cNvPr id="15407" name="Freeform 3"/>
          <p:cNvSpPr>
            <a:spLocks noChangeAspect="1" noEditPoints="1"/>
          </p:cNvSpPr>
          <p:nvPr/>
        </p:nvSpPr>
        <p:spPr bwMode="auto">
          <a:xfrm>
            <a:off x="3716338" y="4706938"/>
            <a:ext cx="371475" cy="441325"/>
          </a:xfrm>
          <a:custGeom>
            <a:avLst/>
            <a:gdLst>
              <a:gd name="T0" fmla="*/ 2147483646 w 294"/>
              <a:gd name="T1" fmla="*/ 2147483646 h 350"/>
              <a:gd name="T2" fmla="*/ 2147483646 w 294"/>
              <a:gd name="T3" fmla="*/ 2147483646 h 350"/>
              <a:gd name="T4" fmla="*/ 2147483646 w 294"/>
              <a:gd name="T5" fmla="*/ 2147483646 h 350"/>
              <a:gd name="T6" fmla="*/ 2147483646 w 294"/>
              <a:gd name="T7" fmla="*/ 2147483646 h 350"/>
              <a:gd name="T8" fmla="*/ 2147483646 w 294"/>
              <a:gd name="T9" fmla="*/ 2147483646 h 350"/>
              <a:gd name="T10" fmla="*/ 2147483646 w 294"/>
              <a:gd name="T11" fmla="*/ 2147483646 h 350"/>
              <a:gd name="T12" fmla="*/ 2147483646 w 294"/>
              <a:gd name="T13" fmla="*/ 2147483646 h 350"/>
              <a:gd name="T14" fmla="*/ 2147483646 w 294"/>
              <a:gd name="T15" fmla="*/ 2147483646 h 350"/>
              <a:gd name="T16" fmla="*/ 2147483646 w 294"/>
              <a:gd name="T17" fmla="*/ 2147483646 h 350"/>
              <a:gd name="T18" fmla="*/ 2147483646 w 294"/>
              <a:gd name="T19" fmla="*/ 2147483646 h 350"/>
              <a:gd name="T20" fmla="*/ 0 w 294"/>
              <a:gd name="T21" fmla="*/ 2147483646 h 350"/>
              <a:gd name="T22" fmla="*/ 2147483646 w 294"/>
              <a:gd name="T23" fmla="*/ 2147483646 h 350"/>
              <a:gd name="T24" fmla="*/ 2147483646 w 294"/>
              <a:gd name="T25" fmla="*/ 2147483646 h 350"/>
              <a:gd name="T26" fmla="*/ 2147483646 w 294"/>
              <a:gd name="T27" fmla="*/ 2147483646 h 350"/>
              <a:gd name="T28" fmla="*/ 2147483646 w 294"/>
              <a:gd name="T29" fmla="*/ 2147483646 h 350"/>
              <a:gd name="T30" fmla="*/ 2147483646 w 294"/>
              <a:gd name="T31" fmla="*/ 2147483646 h 350"/>
              <a:gd name="T32" fmla="*/ 2147483646 w 294"/>
              <a:gd name="T33" fmla="*/ 2147483646 h 350"/>
              <a:gd name="T34" fmla="*/ 2147483646 w 294"/>
              <a:gd name="T35" fmla="*/ 2147483646 h 350"/>
              <a:gd name="T36" fmla="*/ 2147483646 w 294"/>
              <a:gd name="T37" fmla="*/ 2147483646 h 350"/>
              <a:gd name="T38" fmla="*/ 2147483646 w 294"/>
              <a:gd name="T39" fmla="*/ 2147483646 h 350"/>
              <a:gd name="T40" fmla="*/ 2147483646 w 294"/>
              <a:gd name="T41" fmla="*/ 2147483646 h 350"/>
              <a:gd name="T42" fmla="*/ 2147483646 w 294"/>
              <a:gd name="T43" fmla="*/ 2147483646 h 350"/>
              <a:gd name="T44" fmla="*/ 2147483646 w 294"/>
              <a:gd name="T45" fmla="*/ 2147483646 h 350"/>
              <a:gd name="T46" fmla="*/ 2147483646 w 294"/>
              <a:gd name="T47" fmla="*/ 2147483646 h 350"/>
              <a:gd name="T48" fmla="*/ 2147483646 w 294"/>
              <a:gd name="T49" fmla="*/ 2147483646 h 350"/>
              <a:gd name="T50" fmla="*/ 2147483646 w 294"/>
              <a:gd name="T51" fmla="*/ 2147483646 h 350"/>
              <a:gd name="T52" fmla="*/ 2147483646 w 294"/>
              <a:gd name="T53" fmla="*/ 2147483646 h 350"/>
              <a:gd name="T54" fmla="*/ 2147483646 w 294"/>
              <a:gd name="T55" fmla="*/ 2147483646 h 350"/>
              <a:gd name="T56" fmla="*/ 2147483646 w 294"/>
              <a:gd name="T57" fmla="*/ 2147483646 h 350"/>
              <a:gd name="T58" fmla="*/ 2147483646 w 294"/>
              <a:gd name="T59" fmla="*/ 2147483646 h 350"/>
              <a:gd name="T60" fmla="*/ 2147483646 w 294"/>
              <a:gd name="T61" fmla="*/ 2147483646 h 350"/>
              <a:gd name="T62" fmla="*/ 2147483646 w 294"/>
              <a:gd name="T63" fmla="*/ 2147483646 h 350"/>
              <a:gd name="T64" fmla="*/ 2147483646 w 294"/>
              <a:gd name="T65" fmla="*/ 2147483646 h 350"/>
              <a:gd name="T66" fmla="*/ 2147483646 w 294"/>
              <a:gd name="T67" fmla="*/ 2147483646 h 350"/>
              <a:gd name="T68" fmla="*/ 2147483646 w 294"/>
              <a:gd name="T69" fmla="*/ 2147483646 h 350"/>
              <a:gd name="T70" fmla="*/ 2147483646 w 294"/>
              <a:gd name="T71" fmla="*/ 2147483646 h 350"/>
              <a:gd name="T72" fmla="*/ 2147483646 w 294"/>
              <a:gd name="T73" fmla="*/ 2147483646 h 350"/>
              <a:gd name="T74" fmla="*/ 2147483646 w 294"/>
              <a:gd name="T75" fmla="*/ 2147483646 h 350"/>
              <a:gd name="T76" fmla="*/ 2147483646 w 294"/>
              <a:gd name="T77" fmla="*/ 2147483646 h 350"/>
              <a:gd name="T78" fmla="*/ 2147483646 w 294"/>
              <a:gd name="T79" fmla="*/ 2147483646 h 350"/>
              <a:gd name="T80" fmla="*/ 2147483646 w 294"/>
              <a:gd name="T81" fmla="*/ 2147483646 h 350"/>
              <a:gd name="T82" fmla="*/ 2147483646 w 294"/>
              <a:gd name="T83" fmla="*/ 2147483646 h 350"/>
              <a:gd name="T84" fmla="*/ 2147483646 w 294"/>
              <a:gd name="T85" fmla="*/ 2147483646 h 350"/>
              <a:gd name="T86" fmla="*/ 2147483646 w 294"/>
              <a:gd name="T87" fmla="*/ 2147483646 h 350"/>
              <a:gd name="T88" fmla="*/ 2147483646 w 294"/>
              <a:gd name="T89" fmla="*/ 2147483646 h 350"/>
              <a:gd name="T90" fmla="*/ 2147483646 w 294"/>
              <a:gd name="T91" fmla="*/ 2147483646 h 350"/>
              <a:gd name="T92" fmla="*/ 2147483646 w 294"/>
              <a:gd name="T93" fmla="*/ 2147483646 h 350"/>
              <a:gd name="T94" fmla="*/ 2147483646 w 294"/>
              <a:gd name="T95" fmla="*/ 2147483646 h 350"/>
              <a:gd name="T96" fmla="*/ 2147483646 w 294"/>
              <a:gd name="T97" fmla="*/ 0 h 350"/>
              <a:gd name="T98" fmla="*/ 2147483646 w 294"/>
              <a:gd name="T99" fmla="*/ 2147483646 h 350"/>
              <a:gd name="T100" fmla="*/ 2147483646 w 294"/>
              <a:gd name="T101" fmla="*/ 2147483646 h 350"/>
              <a:gd name="T102" fmla="*/ 2147483646 w 294"/>
              <a:gd name="T103" fmla="*/ 2147483646 h 350"/>
              <a:gd name="T104" fmla="*/ 2147483646 w 294"/>
              <a:gd name="T105" fmla="*/ 2147483646 h 350"/>
              <a:gd name="T106" fmla="*/ 2147483646 w 294"/>
              <a:gd name="T107" fmla="*/ 2147483646 h 350"/>
              <a:gd name="T108" fmla="*/ 2147483646 w 294"/>
              <a:gd name="T109" fmla="*/ 2147483646 h 350"/>
              <a:gd name="T110" fmla="*/ 2147483646 w 294"/>
              <a:gd name="T111" fmla="*/ 2147483646 h 350"/>
              <a:gd name="T112" fmla="*/ 2147483646 w 294"/>
              <a:gd name="T113" fmla="*/ 2147483646 h 35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94" h="350">
                <a:moveTo>
                  <a:pt x="270" y="244"/>
                </a:moveTo>
                <a:cubicBezTo>
                  <a:pt x="152" y="244"/>
                  <a:pt x="152" y="244"/>
                  <a:pt x="152" y="244"/>
                </a:cubicBezTo>
                <a:cubicBezTo>
                  <a:pt x="141" y="244"/>
                  <a:pt x="132" y="252"/>
                  <a:pt x="129" y="262"/>
                </a:cubicBezTo>
                <a:cubicBezTo>
                  <a:pt x="115" y="257"/>
                  <a:pt x="103" y="249"/>
                  <a:pt x="92" y="239"/>
                </a:cubicBezTo>
                <a:cubicBezTo>
                  <a:pt x="74" y="220"/>
                  <a:pt x="63" y="195"/>
                  <a:pt x="63" y="168"/>
                </a:cubicBezTo>
                <a:cubicBezTo>
                  <a:pt x="63" y="157"/>
                  <a:pt x="65" y="146"/>
                  <a:pt x="67" y="138"/>
                </a:cubicBezTo>
                <a:cubicBezTo>
                  <a:pt x="69" y="134"/>
                  <a:pt x="70" y="131"/>
                  <a:pt x="71" y="129"/>
                </a:cubicBezTo>
                <a:cubicBezTo>
                  <a:pt x="71" y="127"/>
                  <a:pt x="72" y="126"/>
                  <a:pt x="72" y="126"/>
                </a:cubicBezTo>
                <a:cubicBezTo>
                  <a:pt x="74" y="122"/>
                  <a:pt x="72" y="117"/>
                  <a:pt x="68" y="115"/>
                </a:cubicBezTo>
                <a:cubicBezTo>
                  <a:pt x="64" y="113"/>
                  <a:pt x="59" y="115"/>
                  <a:pt x="57" y="119"/>
                </a:cubicBezTo>
                <a:cubicBezTo>
                  <a:pt x="57" y="120"/>
                  <a:pt x="47" y="141"/>
                  <a:pt x="47" y="168"/>
                </a:cubicBezTo>
                <a:cubicBezTo>
                  <a:pt x="47" y="219"/>
                  <a:pt x="81" y="264"/>
                  <a:pt x="129" y="279"/>
                </a:cubicBezTo>
                <a:cubicBezTo>
                  <a:pt x="129" y="311"/>
                  <a:pt x="129" y="311"/>
                  <a:pt x="129" y="311"/>
                </a:cubicBezTo>
                <a:cubicBezTo>
                  <a:pt x="67" y="296"/>
                  <a:pt x="20" y="244"/>
                  <a:pt x="17" y="178"/>
                </a:cubicBezTo>
                <a:cubicBezTo>
                  <a:pt x="17" y="178"/>
                  <a:pt x="17" y="178"/>
                  <a:pt x="17" y="178"/>
                </a:cubicBezTo>
                <a:cubicBezTo>
                  <a:pt x="16" y="170"/>
                  <a:pt x="16" y="170"/>
                  <a:pt x="16" y="170"/>
                </a:cubicBezTo>
                <a:cubicBezTo>
                  <a:pt x="16" y="170"/>
                  <a:pt x="16" y="170"/>
                  <a:pt x="16" y="170"/>
                </a:cubicBezTo>
                <a:cubicBezTo>
                  <a:pt x="16" y="167"/>
                  <a:pt x="17" y="126"/>
                  <a:pt x="30" y="102"/>
                </a:cubicBezTo>
                <a:cubicBezTo>
                  <a:pt x="32" y="98"/>
                  <a:pt x="31" y="94"/>
                  <a:pt x="27" y="91"/>
                </a:cubicBezTo>
                <a:cubicBezTo>
                  <a:pt x="23" y="89"/>
                  <a:pt x="18" y="91"/>
                  <a:pt x="16" y="95"/>
                </a:cubicBezTo>
                <a:cubicBezTo>
                  <a:pt x="0" y="124"/>
                  <a:pt x="1" y="166"/>
                  <a:pt x="0" y="170"/>
                </a:cubicBezTo>
                <a:cubicBezTo>
                  <a:pt x="0" y="171"/>
                  <a:pt x="0" y="171"/>
                  <a:pt x="0" y="171"/>
                </a:cubicBezTo>
                <a:cubicBezTo>
                  <a:pt x="0" y="215"/>
                  <a:pt x="19" y="256"/>
                  <a:pt x="48" y="284"/>
                </a:cubicBezTo>
                <a:cubicBezTo>
                  <a:pt x="70" y="306"/>
                  <a:pt x="98" y="321"/>
                  <a:pt x="129" y="327"/>
                </a:cubicBezTo>
                <a:cubicBezTo>
                  <a:pt x="129" y="340"/>
                  <a:pt x="140" y="350"/>
                  <a:pt x="152" y="350"/>
                </a:cubicBezTo>
                <a:cubicBezTo>
                  <a:pt x="215" y="350"/>
                  <a:pt x="215" y="350"/>
                  <a:pt x="215" y="350"/>
                </a:cubicBezTo>
                <a:cubicBezTo>
                  <a:pt x="220" y="350"/>
                  <a:pt x="223" y="346"/>
                  <a:pt x="223" y="342"/>
                </a:cubicBezTo>
                <a:cubicBezTo>
                  <a:pt x="223" y="337"/>
                  <a:pt x="220" y="334"/>
                  <a:pt x="215" y="334"/>
                </a:cubicBezTo>
                <a:cubicBezTo>
                  <a:pt x="152" y="334"/>
                  <a:pt x="152" y="334"/>
                  <a:pt x="152" y="334"/>
                </a:cubicBezTo>
                <a:cubicBezTo>
                  <a:pt x="148" y="334"/>
                  <a:pt x="145" y="330"/>
                  <a:pt x="145" y="326"/>
                </a:cubicBezTo>
                <a:cubicBezTo>
                  <a:pt x="145" y="324"/>
                  <a:pt x="145" y="324"/>
                  <a:pt x="145" y="324"/>
                </a:cubicBezTo>
                <a:cubicBezTo>
                  <a:pt x="178" y="324"/>
                  <a:pt x="178" y="324"/>
                  <a:pt x="178" y="324"/>
                </a:cubicBezTo>
                <a:cubicBezTo>
                  <a:pt x="183" y="324"/>
                  <a:pt x="186" y="321"/>
                  <a:pt x="186" y="316"/>
                </a:cubicBezTo>
                <a:cubicBezTo>
                  <a:pt x="186" y="278"/>
                  <a:pt x="186" y="278"/>
                  <a:pt x="186" y="278"/>
                </a:cubicBezTo>
                <a:cubicBezTo>
                  <a:pt x="186" y="273"/>
                  <a:pt x="183" y="270"/>
                  <a:pt x="178" y="270"/>
                </a:cubicBezTo>
                <a:cubicBezTo>
                  <a:pt x="145" y="270"/>
                  <a:pt x="145" y="270"/>
                  <a:pt x="145" y="270"/>
                </a:cubicBezTo>
                <a:cubicBezTo>
                  <a:pt x="145" y="267"/>
                  <a:pt x="145" y="267"/>
                  <a:pt x="145" y="267"/>
                </a:cubicBezTo>
                <a:cubicBezTo>
                  <a:pt x="145" y="263"/>
                  <a:pt x="148" y="260"/>
                  <a:pt x="152" y="260"/>
                </a:cubicBezTo>
                <a:cubicBezTo>
                  <a:pt x="270" y="260"/>
                  <a:pt x="270" y="260"/>
                  <a:pt x="270" y="260"/>
                </a:cubicBezTo>
                <a:cubicBezTo>
                  <a:pt x="275" y="260"/>
                  <a:pt x="278" y="263"/>
                  <a:pt x="278" y="267"/>
                </a:cubicBezTo>
                <a:cubicBezTo>
                  <a:pt x="278" y="274"/>
                  <a:pt x="278" y="274"/>
                  <a:pt x="278" y="274"/>
                </a:cubicBezTo>
                <a:cubicBezTo>
                  <a:pt x="247" y="274"/>
                  <a:pt x="247" y="274"/>
                  <a:pt x="247" y="274"/>
                </a:cubicBezTo>
                <a:cubicBezTo>
                  <a:pt x="242" y="274"/>
                  <a:pt x="239" y="278"/>
                  <a:pt x="239" y="282"/>
                </a:cubicBezTo>
                <a:cubicBezTo>
                  <a:pt x="239" y="287"/>
                  <a:pt x="242" y="290"/>
                  <a:pt x="247" y="290"/>
                </a:cubicBezTo>
                <a:cubicBezTo>
                  <a:pt x="278" y="290"/>
                  <a:pt x="278" y="290"/>
                  <a:pt x="278" y="290"/>
                </a:cubicBezTo>
                <a:cubicBezTo>
                  <a:pt x="278" y="304"/>
                  <a:pt x="278" y="304"/>
                  <a:pt x="278" y="304"/>
                </a:cubicBezTo>
                <a:cubicBezTo>
                  <a:pt x="247" y="304"/>
                  <a:pt x="247" y="304"/>
                  <a:pt x="247" y="304"/>
                </a:cubicBezTo>
                <a:cubicBezTo>
                  <a:pt x="242" y="304"/>
                  <a:pt x="239" y="307"/>
                  <a:pt x="239" y="312"/>
                </a:cubicBezTo>
                <a:cubicBezTo>
                  <a:pt x="239" y="316"/>
                  <a:pt x="242" y="320"/>
                  <a:pt x="247" y="320"/>
                </a:cubicBezTo>
                <a:cubicBezTo>
                  <a:pt x="278" y="320"/>
                  <a:pt x="278" y="320"/>
                  <a:pt x="278" y="320"/>
                </a:cubicBezTo>
                <a:cubicBezTo>
                  <a:pt x="278" y="326"/>
                  <a:pt x="278" y="326"/>
                  <a:pt x="278" y="326"/>
                </a:cubicBezTo>
                <a:cubicBezTo>
                  <a:pt x="278" y="330"/>
                  <a:pt x="275" y="334"/>
                  <a:pt x="270" y="334"/>
                </a:cubicBezTo>
                <a:cubicBezTo>
                  <a:pt x="247" y="334"/>
                  <a:pt x="247" y="334"/>
                  <a:pt x="247" y="334"/>
                </a:cubicBezTo>
                <a:cubicBezTo>
                  <a:pt x="242" y="334"/>
                  <a:pt x="239" y="337"/>
                  <a:pt x="239" y="342"/>
                </a:cubicBezTo>
                <a:cubicBezTo>
                  <a:pt x="239" y="346"/>
                  <a:pt x="242" y="350"/>
                  <a:pt x="247" y="350"/>
                </a:cubicBezTo>
                <a:cubicBezTo>
                  <a:pt x="270" y="350"/>
                  <a:pt x="270" y="350"/>
                  <a:pt x="270" y="350"/>
                </a:cubicBezTo>
                <a:cubicBezTo>
                  <a:pt x="283" y="350"/>
                  <a:pt x="294" y="339"/>
                  <a:pt x="294" y="326"/>
                </a:cubicBezTo>
                <a:cubicBezTo>
                  <a:pt x="294" y="267"/>
                  <a:pt x="294" y="267"/>
                  <a:pt x="294" y="267"/>
                </a:cubicBezTo>
                <a:cubicBezTo>
                  <a:pt x="294" y="254"/>
                  <a:pt x="283" y="244"/>
                  <a:pt x="270" y="244"/>
                </a:cubicBezTo>
                <a:close/>
                <a:moveTo>
                  <a:pt x="142" y="147"/>
                </a:moveTo>
                <a:cubicBezTo>
                  <a:pt x="131" y="158"/>
                  <a:pt x="131" y="176"/>
                  <a:pt x="142" y="186"/>
                </a:cubicBezTo>
                <a:cubicBezTo>
                  <a:pt x="147" y="192"/>
                  <a:pt x="154" y="194"/>
                  <a:pt x="161" y="194"/>
                </a:cubicBezTo>
                <a:cubicBezTo>
                  <a:pt x="169" y="194"/>
                  <a:pt x="176" y="192"/>
                  <a:pt x="181" y="186"/>
                </a:cubicBezTo>
                <a:cubicBezTo>
                  <a:pt x="192" y="176"/>
                  <a:pt x="192" y="158"/>
                  <a:pt x="181" y="147"/>
                </a:cubicBezTo>
                <a:cubicBezTo>
                  <a:pt x="176" y="142"/>
                  <a:pt x="169" y="139"/>
                  <a:pt x="161" y="139"/>
                </a:cubicBezTo>
                <a:cubicBezTo>
                  <a:pt x="154" y="139"/>
                  <a:pt x="147" y="142"/>
                  <a:pt x="142" y="147"/>
                </a:cubicBezTo>
                <a:close/>
                <a:moveTo>
                  <a:pt x="204" y="125"/>
                </a:moveTo>
                <a:cubicBezTo>
                  <a:pt x="206" y="125"/>
                  <a:pt x="208" y="124"/>
                  <a:pt x="210" y="122"/>
                </a:cubicBezTo>
                <a:cubicBezTo>
                  <a:pt x="212" y="121"/>
                  <a:pt x="212" y="119"/>
                  <a:pt x="212" y="116"/>
                </a:cubicBezTo>
                <a:cubicBezTo>
                  <a:pt x="212" y="114"/>
                  <a:pt x="212" y="112"/>
                  <a:pt x="210" y="110"/>
                </a:cubicBezTo>
                <a:cubicBezTo>
                  <a:pt x="197" y="98"/>
                  <a:pt x="180" y="90"/>
                  <a:pt x="161" y="90"/>
                </a:cubicBezTo>
                <a:cubicBezTo>
                  <a:pt x="143" y="90"/>
                  <a:pt x="126" y="98"/>
                  <a:pt x="113" y="110"/>
                </a:cubicBezTo>
                <a:cubicBezTo>
                  <a:pt x="110" y="114"/>
                  <a:pt x="110" y="119"/>
                  <a:pt x="113" y="122"/>
                </a:cubicBezTo>
                <a:cubicBezTo>
                  <a:pt x="114" y="124"/>
                  <a:pt x="117" y="125"/>
                  <a:pt x="119" y="125"/>
                </a:cubicBezTo>
                <a:cubicBezTo>
                  <a:pt x="121" y="125"/>
                  <a:pt x="123" y="124"/>
                  <a:pt x="125" y="122"/>
                </a:cubicBezTo>
                <a:cubicBezTo>
                  <a:pt x="135" y="113"/>
                  <a:pt x="148" y="107"/>
                  <a:pt x="161" y="107"/>
                </a:cubicBezTo>
                <a:cubicBezTo>
                  <a:pt x="175" y="107"/>
                  <a:pt x="188" y="113"/>
                  <a:pt x="198" y="122"/>
                </a:cubicBezTo>
                <a:cubicBezTo>
                  <a:pt x="200" y="124"/>
                  <a:pt x="202" y="125"/>
                  <a:pt x="204" y="125"/>
                </a:cubicBezTo>
                <a:close/>
                <a:moveTo>
                  <a:pt x="242" y="42"/>
                </a:moveTo>
                <a:cubicBezTo>
                  <a:pt x="244" y="43"/>
                  <a:pt x="246" y="44"/>
                  <a:pt x="248" y="45"/>
                </a:cubicBezTo>
                <a:cubicBezTo>
                  <a:pt x="253" y="49"/>
                  <a:pt x="258" y="54"/>
                  <a:pt x="262" y="58"/>
                </a:cubicBezTo>
                <a:cubicBezTo>
                  <a:pt x="264" y="60"/>
                  <a:pt x="266" y="61"/>
                  <a:pt x="268" y="61"/>
                </a:cubicBezTo>
                <a:cubicBezTo>
                  <a:pt x="270" y="61"/>
                  <a:pt x="273" y="60"/>
                  <a:pt x="274" y="58"/>
                </a:cubicBezTo>
                <a:cubicBezTo>
                  <a:pt x="276" y="57"/>
                  <a:pt x="277" y="55"/>
                  <a:pt x="277" y="52"/>
                </a:cubicBezTo>
                <a:cubicBezTo>
                  <a:pt x="277" y="50"/>
                  <a:pt x="276" y="48"/>
                  <a:pt x="274" y="46"/>
                </a:cubicBezTo>
                <a:cubicBezTo>
                  <a:pt x="269" y="41"/>
                  <a:pt x="263" y="36"/>
                  <a:pt x="258" y="32"/>
                </a:cubicBezTo>
                <a:cubicBezTo>
                  <a:pt x="256" y="31"/>
                  <a:pt x="254" y="29"/>
                  <a:pt x="252" y="28"/>
                </a:cubicBezTo>
                <a:cubicBezTo>
                  <a:pt x="250" y="27"/>
                  <a:pt x="249" y="26"/>
                  <a:pt x="247" y="26"/>
                </a:cubicBezTo>
                <a:cubicBezTo>
                  <a:pt x="244" y="26"/>
                  <a:pt x="242" y="28"/>
                  <a:pt x="240" y="30"/>
                </a:cubicBezTo>
                <a:cubicBezTo>
                  <a:pt x="237" y="34"/>
                  <a:pt x="238" y="39"/>
                  <a:pt x="242" y="42"/>
                </a:cubicBezTo>
                <a:close/>
                <a:moveTo>
                  <a:pt x="55" y="61"/>
                </a:moveTo>
                <a:cubicBezTo>
                  <a:pt x="57" y="61"/>
                  <a:pt x="59" y="60"/>
                  <a:pt x="61" y="58"/>
                </a:cubicBezTo>
                <a:cubicBezTo>
                  <a:pt x="88" y="31"/>
                  <a:pt x="123" y="16"/>
                  <a:pt x="161" y="16"/>
                </a:cubicBezTo>
                <a:cubicBezTo>
                  <a:pt x="179" y="16"/>
                  <a:pt x="197" y="20"/>
                  <a:pt x="213" y="26"/>
                </a:cubicBezTo>
                <a:cubicBezTo>
                  <a:pt x="214" y="26"/>
                  <a:pt x="215" y="27"/>
                  <a:pt x="216" y="27"/>
                </a:cubicBezTo>
                <a:cubicBezTo>
                  <a:pt x="220" y="27"/>
                  <a:pt x="223" y="25"/>
                  <a:pt x="224" y="21"/>
                </a:cubicBezTo>
                <a:cubicBezTo>
                  <a:pt x="226" y="17"/>
                  <a:pt x="223" y="12"/>
                  <a:pt x="219" y="10"/>
                </a:cubicBezTo>
                <a:cubicBezTo>
                  <a:pt x="201" y="3"/>
                  <a:pt x="181" y="0"/>
                  <a:pt x="161" y="0"/>
                </a:cubicBezTo>
                <a:cubicBezTo>
                  <a:pt x="119" y="0"/>
                  <a:pt x="79" y="16"/>
                  <a:pt x="49" y="46"/>
                </a:cubicBezTo>
                <a:cubicBezTo>
                  <a:pt x="47" y="48"/>
                  <a:pt x="46" y="50"/>
                  <a:pt x="46" y="52"/>
                </a:cubicBezTo>
                <a:cubicBezTo>
                  <a:pt x="46" y="55"/>
                  <a:pt x="47" y="57"/>
                  <a:pt x="49" y="58"/>
                </a:cubicBezTo>
                <a:cubicBezTo>
                  <a:pt x="50" y="60"/>
                  <a:pt x="52" y="61"/>
                  <a:pt x="55" y="61"/>
                </a:cubicBezTo>
                <a:close/>
                <a:moveTo>
                  <a:pt x="236" y="93"/>
                </a:moveTo>
                <a:cubicBezTo>
                  <a:pt x="238" y="93"/>
                  <a:pt x="240" y="92"/>
                  <a:pt x="242" y="91"/>
                </a:cubicBezTo>
                <a:cubicBezTo>
                  <a:pt x="245" y="87"/>
                  <a:pt x="245" y="82"/>
                  <a:pt x="242" y="79"/>
                </a:cubicBezTo>
                <a:cubicBezTo>
                  <a:pt x="220" y="57"/>
                  <a:pt x="192" y="45"/>
                  <a:pt x="161" y="45"/>
                </a:cubicBezTo>
                <a:cubicBezTo>
                  <a:pt x="131" y="45"/>
                  <a:pt x="103" y="57"/>
                  <a:pt x="81" y="79"/>
                </a:cubicBezTo>
                <a:cubicBezTo>
                  <a:pt x="79" y="80"/>
                  <a:pt x="79" y="82"/>
                  <a:pt x="79" y="85"/>
                </a:cubicBezTo>
                <a:cubicBezTo>
                  <a:pt x="79" y="87"/>
                  <a:pt x="79" y="89"/>
                  <a:pt x="81" y="90"/>
                </a:cubicBezTo>
                <a:cubicBezTo>
                  <a:pt x="83" y="92"/>
                  <a:pt x="85" y="93"/>
                  <a:pt x="87" y="93"/>
                </a:cubicBezTo>
                <a:cubicBezTo>
                  <a:pt x="89" y="93"/>
                  <a:pt x="91" y="92"/>
                  <a:pt x="93" y="91"/>
                </a:cubicBezTo>
                <a:cubicBezTo>
                  <a:pt x="93" y="90"/>
                  <a:pt x="93" y="90"/>
                  <a:pt x="93" y="90"/>
                </a:cubicBezTo>
                <a:cubicBezTo>
                  <a:pt x="111" y="72"/>
                  <a:pt x="136" y="62"/>
                  <a:pt x="161" y="62"/>
                </a:cubicBezTo>
                <a:cubicBezTo>
                  <a:pt x="187" y="62"/>
                  <a:pt x="212" y="72"/>
                  <a:pt x="230" y="90"/>
                </a:cubicBezTo>
                <a:cubicBezTo>
                  <a:pt x="232" y="92"/>
                  <a:pt x="234" y="93"/>
                  <a:pt x="236" y="93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408" name="Freeform 3"/>
          <p:cNvSpPr>
            <a:spLocks noChangeAspect="1" noEditPoints="1"/>
          </p:cNvSpPr>
          <p:nvPr/>
        </p:nvSpPr>
        <p:spPr bwMode="auto">
          <a:xfrm>
            <a:off x="4241800" y="5522913"/>
            <a:ext cx="369888" cy="392112"/>
          </a:xfrm>
          <a:custGeom>
            <a:avLst/>
            <a:gdLst>
              <a:gd name="T0" fmla="*/ 2147483646 w 382"/>
              <a:gd name="T1" fmla="*/ 2147483646 h 405"/>
              <a:gd name="T2" fmla="*/ 2147483646 w 382"/>
              <a:gd name="T3" fmla="*/ 2147483646 h 405"/>
              <a:gd name="T4" fmla="*/ 2147483646 w 382"/>
              <a:gd name="T5" fmla="*/ 2147483646 h 405"/>
              <a:gd name="T6" fmla="*/ 2147483646 w 382"/>
              <a:gd name="T7" fmla="*/ 2147483646 h 405"/>
              <a:gd name="T8" fmla="*/ 2147483646 w 382"/>
              <a:gd name="T9" fmla="*/ 2147483646 h 405"/>
              <a:gd name="T10" fmla="*/ 2147483646 w 382"/>
              <a:gd name="T11" fmla="*/ 2147483646 h 405"/>
              <a:gd name="T12" fmla="*/ 2147483646 w 382"/>
              <a:gd name="T13" fmla="*/ 2147483646 h 405"/>
              <a:gd name="T14" fmla="*/ 2147483646 w 382"/>
              <a:gd name="T15" fmla="*/ 2147483646 h 405"/>
              <a:gd name="T16" fmla="*/ 0 w 382"/>
              <a:gd name="T17" fmla="*/ 2147483646 h 405"/>
              <a:gd name="T18" fmla="*/ 2147483646 w 382"/>
              <a:gd name="T19" fmla="*/ 2147483646 h 405"/>
              <a:gd name="T20" fmla="*/ 2147483646 w 382"/>
              <a:gd name="T21" fmla="*/ 2147483646 h 405"/>
              <a:gd name="T22" fmla="*/ 2147483646 w 382"/>
              <a:gd name="T23" fmla="*/ 2147483646 h 405"/>
              <a:gd name="T24" fmla="*/ 2147483646 w 382"/>
              <a:gd name="T25" fmla="*/ 2147483646 h 405"/>
              <a:gd name="T26" fmla="*/ 2147483646 w 382"/>
              <a:gd name="T27" fmla="*/ 2147483646 h 405"/>
              <a:gd name="T28" fmla="*/ 2147483646 w 382"/>
              <a:gd name="T29" fmla="*/ 2147483646 h 405"/>
              <a:gd name="T30" fmla="*/ 2147483646 w 382"/>
              <a:gd name="T31" fmla="*/ 2147483646 h 405"/>
              <a:gd name="T32" fmla="*/ 2147483646 w 382"/>
              <a:gd name="T33" fmla="*/ 2147483646 h 405"/>
              <a:gd name="T34" fmla="*/ 2147483646 w 382"/>
              <a:gd name="T35" fmla="*/ 2147483646 h 405"/>
              <a:gd name="T36" fmla="*/ 2147483646 w 382"/>
              <a:gd name="T37" fmla="*/ 2147483646 h 405"/>
              <a:gd name="T38" fmla="*/ 2147483646 w 382"/>
              <a:gd name="T39" fmla="*/ 2147483646 h 405"/>
              <a:gd name="T40" fmla="*/ 2147483646 w 382"/>
              <a:gd name="T41" fmla="*/ 2147483646 h 405"/>
              <a:gd name="T42" fmla="*/ 2147483646 w 382"/>
              <a:gd name="T43" fmla="*/ 2147483646 h 405"/>
              <a:gd name="T44" fmla="*/ 2147483646 w 382"/>
              <a:gd name="T45" fmla="*/ 2147483646 h 405"/>
              <a:gd name="T46" fmla="*/ 2147483646 w 382"/>
              <a:gd name="T47" fmla="*/ 2147483646 h 405"/>
              <a:gd name="T48" fmla="*/ 2147483646 w 382"/>
              <a:gd name="T49" fmla="*/ 2147483646 h 405"/>
              <a:gd name="T50" fmla="*/ 2147483646 w 382"/>
              <a:gd name="T51" fmla="*/ 2147483646 h 405"/>
              <a:gd name="T52" fmla="*/ 2147483646 w 382"/>
              <a:gd name="T53" fmla="*/ 2147483646 h 405"/>
              <a:gd name="T54" fmla="*/ 2147483646 w 382"/>
              <a:gd name="T55" fmla="*/ 2147483646 h 405"/>
              <a:gd name="T56" fmla="*/ 2147483646 w 382"/>
              <a:gd name="T57" fmla="*/ 2147483646 h 405"/>
              <a:gd name="T58" fmla="*/ 2147483646 w 382"/>
              <a:gd name="T59" fmla="*/ 2147483646 h 405"/>
              <a:gd name="T60" fmla="*/ 2147483646 w 382"/>
              <a:gd name="T61" fmla="*/ 2147483646 h 405"/>
              <a:gd name="T62" fmla="*/ 2147483646 w 382"/>
              <a:gd name="T63" fmla="*/ 2147483646 h 405"/>
              <a:gd name="T64" fmla="*/ 2147483646 w 382"/>
              <a:gd name="T65" fmla="*/ 2147483646 h 405"/>
              <a:gd name="T66" fmla="*/ 2147483646 w 382"/>
              <a:gd name="T67" fmla="*/ 2147483646 h 405"/>
              <a:gd name="T68" fmla="*/ 2147483646 w 382"/>
              <a:gd name="T69" fmla="*/ 2147483646 h 405"/>
              <a:gd name="T70" fmla="*/ 2147483646 w 382"/>
              <a:gd name="T71" fmla="*/ 2147483646 h 405"/>
              <a:gd name="T72" fmla="*/ 2147483646 w 382"/>
              <a:gd name="T73" fmla="*/ 2147483646 h 405"/>
              <a:gd name="T74" fmla="*/ 2147483646 w 382"/>
              <a:gd name="T75" fmla="*/ 2147483646 h 405"/>
              <a:gd name="T76" fmla="*/ 2147483646 w 382"/>
              <a:gd name="T77" fmla="*/ 2147483646 h 405"/>
              <a:gd name="T78" fmla="*/ 2147483646 w 382"/>
              <a:gd name="T79" fmla="*/ 2147483646 h 405"/>
              <a:gd name="T80" fmla="*/ 2147483646 w 382"/>
              <a:gd name="T81" fmla="*/ 2147483646 h 405"/>
              <a:gd name="T82" fmla="*/ 2147483646 w 382"/>
              <a:gd name="T83" fmla="*/ 2147483646 h 405"/>
              <a:gd name="T84" fmla="*/ 2147483646 w 382"/>
              <a:gd name="T85" fmla="*/ 2147483646 h 405"/>
              <a:gd name="T86" fmla="*/ 2147483646 w 382"/>
              <a:gd name="T87" fmla="*/ 2147483646 h 405"/>
              <a:gd name="T88" fmla="*/ 2147483646 w 382"/>
              <a:gd name="T89" fmla="*/ 2147483646 h 405"/>
              <a:gd name="T90" fmla="*/ 2147483646 w 382"/>
              <a:gd name="T91" fmla="*/ 2147483646 h 405"/>
              <a:gd name="T92" fmla="*/ 2147483646 w 382"/>
              <a:gd name="T93" fmla="*/ 2147483646 h 405"/>
              <a:gd name="T94" fmla="*/ 2147483646 w 382"/>
              <a:gd name="T95" fmla="*/ 2147483646 h 405"/>
              <a:gd name="T96" fmla="*/ 2147483646 w 382"/>
              <a:gd name="T97" fmla="*/ 2147483646 h 405"/>
              <a:gd name="T98" fmla="*/ 2147483646 w 382"/>
              <a:gd name="T99" fmla="*/ 2147483646 h 405"/>
              <a:gd name="T100" fmla="*/ 2147483646 w 382"/>
              <a:gd name="T101" fmla="*/ 2147483646 h 405"/>
              <a:gd name="T102" fmla="*/ 2147483646 w 382"/>
              <a:gd name="T103" fmla="*/ 2147483646 h 405"/>
              <a:gd name="T104" fmla="*/ 2147483646 w 382"/>
              <a:gd name="T105" fmla="*/ 2147483646 h 40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382" h="405">
                <a:moveTo>
                  <a:pt x="347" y="257"/>
                </a:moveTo>
                <a:cubicBezTo>
                  <a:pt x="348" y="202"/>
                  <a:pt x="348" y="202"/>
                  <a:pt x="348" y="202"/>
                </a:cubicBezTo>
                <a:cubicBezTo>
                  <a:pt x="349" y="198"/>
                  <a:pt x="345" y="194"/>
                  <a:pt x="341" y="194"/>
                </a:cubicBezTo>
                <a:cubicBezTo>
                  <a:pt x="336" y="194"/>
                  <a:pt x="333" y="197"/>
                  <a:pt x="332" y="202"/>
                </a:cubicBezTo>
                <a:cubicBezTo>
                  <a:pt x="331" y="257"/>
                  <a:pt x="331" y="257"/>
                  <a:pt x="331" y="257"/>
                </a:cubicBezTo>
                <a:cubicBezTo>
                  <a:pt x="325" y="258"/>
                  <a:pt x="319" y="260"/>
                  <a:pt x="314" y="264"/>
                </a:cubicBezTo>
                <a:cubicBezTo>
                  <a:pt x="276" y="231"/>
                  <a:pt x="276" y="231"/>
                  <a:pt x="276" y="231"/>
                </a:cubicBezTo>
                <a:cubicBezTo>
                  <a:pt x="279" y="225"/>
                  <a:pt x="281" y="219"/>
                  <a:pt x="281" y="212"/>
                </a:cubicBezTo>
                <a:cubicBezTo>
                  <a:pt x="281" y="204"/>
                  <a:pt x="279" y="197"/>
                  <a:pt x="275" y="191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4" y="153"/>
                  <a:pt x="329" y="155"/>
                  <a:pt x="334" y="156"/>
                </a:cubicBezTo>
                <a:cubicBezTo>
                  <a:pt x="333" y="170"/>
                  <a:pt x="333" y="170"/>
                  <a:pt x="333" y="170"/>
                </a:cubicBezTo>
                <a:cubicBezTo>
                  <a:pt x="333" y="175"/>
                  <a:pt x="337" y="178"/>
                  <a:pt x="341" y="178"/>
                </a:cubicBezTo>
                <a:cubicBezTo>
                  <a:pt x="341" y="178"/>
                  <a:pt x="341" y="178"/>
                  <a:pt x="341" y="178"/>
                </a:cubicBezTo>
                <a:cubicBezTo>
                  <a:pt x="346" y="178"/>
                  <a:pt x="349" y="175"/>
                  <a:pt x="349" y="171"/>
                </a:cubicBezTo>
                <a:cubicBezTo>
                  <a:pt x="350" y="157"/>
                  <a:pt x="350" y="157"/>
                  <a:pt x="350" y="157"/>
                </a:cubicBezTo>
                <a:cubicBezTo>
                  <a:pt x="368" y="153"/>
                  <a:pt x="382" y="137"/>
                  <a:pt x="382" y="118"/>
                </a:cubicBezTo>
                <a:cubicBezTo>
                  <a:pt x="382" y="96"/>
                  <a:pt x="365" y="78"/>
                  <a:pt x="343" y="78"/>
                </a:cubicBezTo>
                <a:cubicBezTo>
                  <a:pt x="332" y="78"/>
                  <a:pt x="322" y="83"/>
                  <a:pt x="314" y="91"/>
                </a:cubicBezTo>
                <a:cubicBezTo>
                  <a:pt x="254" y="53"/>
                  <a:pt x="254" y="53"/>
                  <a:pt x="254" y="53"/>
                </a:cubicBezTo>
                <a:cubicBezTo>
                  <a:pt x="255" y="49"/>
                  <a:pt x="256" y="44"/>
                  <a:pt x="256" y="39"/>
                </a:cubicBezTo>
                <a:cubicBezTo>
                  <a:pt x="256" y="18"/>
                  <a:pt x="238" y="0"/>
                  <a:pt x="217" y="0"/>
                </a:cubicBezTo>
                <a:cubicBezTo>
                  <a:pt x="195" y="0"/>
                  <a:pt x="177" y="18"/>
                  <a:pt x="177" y="39"/>
                </a:cubicBezTo>
                <a:cubicBezTo>
                  <a:pt x="177" y="40"/>
                  <a:pt x="177" y="41"/>
                  <a:pt x="177" y="42"/>
                </a:cubicBezTo>
                <a:cubicBezTo>
                  <a:pt x="74" y="72"/>
                  <a:pt x="74" y="72"/>
                  <a:pt x="74" y="72"/>
                </a:cubicBezTo>
                <a:cubicBezTo>
                  <a:pt x="68" y="60"/>
                  <a:pt x="55" y="51"/>
                  <a:pt x="40" y="51"/>
                </a:cubicBezTo>
                <a:cubicBezTo>
                  <a:pt x="18" y="51"/>
                  <a:pt x="0" y="69"/>
                  <a:pt x="0" y="91"/>
                </a:cubicBezTo>
                <a:cubicBezTo>
                  <a:pt x="0" y="111"/>
                  <a:pt x="16" y="128"/>
                  <a:pt x="35" y="130"/>
                </a:cubicBezTo>
                <a:cubicBezTo>
                  <a:pt x="46" y="237"/>
                  <a:pt x="46" y="237"/>
                  <a:pt x="46" y="237"/>
                </a:cubicBezTo>
                <a:cubicBezTo>
                  <a:pt x="30" y="242"/>
                  <a:pt x="19" y="257"/>
                  <a:pt x="19" y="275"/>
                </a:cubicBezTo>
                <a:cubicBezTo>
                  <a:pt x="19" y="297"/>
                  <a:pt x="36" y="314"/>
                  <a:pt x="58" y="314"/>
                </a:cubicBezTo>
                <a:cubicBezTo>
                  <a:pt x="65" y="314"/>
                  <a:pt x="72" y="312"/>
                  <a:pt x="78" y="309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105" y="349"/>
                  <a:pt x="102" y="357"/>
                  <a:pt x="102" y="366"/>
                </a:cubicBezTo>
                <a:cubicBezTo>
                  <a:pt x="102" y="387"/>
                  <a:pt x="119" y="405"/>
                  <a:pt x="141" y="405"/>
                </a:cubicBezTo>
                <a:cubicBezTo>
                  <a:pt x="163" y="405"/>
                  <a:pt x="181" y="387"/>
                  <a:pt x="181" y="366"/>
                </a:cubicBezTo>
                <a:cubicBezTo>
                  <a:pt x="181" y="364"/>
                  <a:pt x="180" y="362"/>
                  <a:pt x="180" y="360"/>
                </a:cubicBezTo>
                <a:cubicBezTo>
                  <a:pt x="304" y="316"/>
                  <a:pt x="304" y="316"/>
                  <a:pt x="304" y="316"/>
                </a:cubicBezTo>
                <a:cubicBezTo>
                  <a:pt x="311" y="327"/>
                  <a:pt x="323" y="335"/>
                  <a:pt x="337" y="335"/>
                </a:cubicBezTo>
                <a:cubicBezTo>
                  <a:pt x="359" y="335"/>
                  <a:pt x="377" y="317"/>
                  <a:pt x="377" y="295"/>
                </a:cubicBezTo>
                <a:cubicBezTo>
                  <a:pt x="377" y="277"/>
                  <a:pt x="364" y="261"/>
                  <a:pt x="347" y="257"/>
                </a:cubicBezTo>
                <a:close/>
                <a:moveTo>
                  <a:pt x="343" y="94"/>
                </a:moveTo>
                <a:cubicBezTo>
                  <a:pt x="356" y="94"/>
                  <a:pt x="366" y="105"/>
                  <a:pt x="366" y="118"/>
                </a:cubicBezTo>
                <a:cubicBezTo>
                  <a:pt x="366" y="131"/>
                  <a:pt x="356" y="141"/>
                  <a:pt x="343" y="141"/>
                </a:cubicBezTo>
                <a:cubicBezTo>
                  <a:pt x="330" y="141"/>
                  <a:pt x="320" y="131"/>
                  <a:pt x="320" y="118"/>
                </a:cubicBezTo>
                <a:cubicBezTo>
                  <a:pt x="320" y="105"/>
                  <a:pt x="330" y="94"/>
                  <a:pt x="343" y="94"/>
                </a:cubicBezTo>
                <a:close/>
                <a:moveTo>
                  <a:pt x="309" y="138"/>
                </a:moveTo>
                <a:cubicBezTo>
                  <a:pt x="265" y="180"/>
                  <a:pt x="265" y="180"/>
                  <a:pt x="265" y="180"/>
                </a:cubicBezTo>
                <a:cubicBezTo>
                  <a:pt x="258" y="175"/>
                  <a:pt x="250" y="173"/>
                  <a:pt x="242" y="173"/>
                </a:cubicBezTo>
                <a:cubicBezTo>
                  <a:pt x="227" y="173"/>
                  <a:pt x="213" y="181"/>
                  <a:pt x="207" y="194"/>
                </a:cubicBezTo>
                <a:cubicBezTo>
                  <a:pt x="167" y="183"/>
                  <a:pt x="167" y="183"/>
                  <a:pt x="167" y="183"/>
                </a:cubicBezTo>
                <a:cubicBezTo>
                  <a:pt x="167" y="182"/>
                  <a:pt x="167" y="181"/>
                  <a:pt x="167" y="180"/>
                </a:cubicBezTo>
                <a:cubicBezTo>
                  <a:pt x="167" y="179"/>
                  <a:pt x="167" y="178"/>
                  <a:pt x="167" y="177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8" y="137"/>
                  <a:pt x="309" y="138"/>
                  <a:pt x="309" y="138"/>
                </a:cubicBezTo>
                <a:close/>
                <a:moveTo>
                  <a:pt x="265" y="212"/>
                </a:moveTo>
                <a:cubicBezTo>
                  <a:pt x="265" y="225"/>
                  <a:pt x="255" y="235"/>
                  <a:pt x="242" y="235"/>
                </a:cubicBezTo>
                <a:cubicBezTo>
                  <a:pt x="229" y="235"/>
                  <a:pt x="218" y="225"/>
                  <a:pt x="218" y="212"/>
                </a:cubicBezTo>
                <a:cubicBezTo>
                  <a:pt x="218" y="199"/>
                  <a:pt x="229" y="189"/>
                  <a:pt x="242" y="189"/>
                </a:cubicBezTo>
                <a:cubicBezTo>
                  <a:pt x="255" y="189"/>
                  <a:pt x="265" y="199"/>
                  <a:pt x="265" y="212"/>
                </a:cubicBezTo>
                <a:close/>
                <a:moveTo>
                  <a:pt x="143" y="273"/>
                </a:moveTo>
                <a:cubicBezTo>
                  <a:pt x="139" y="218"/>
                  <a:pt x="139" y="218"/>
                  <a:pt x="139" y="218"/>
                </a:cubicBezTo>
                <a:cubicBezTo>
                  <a:pt x="149" y="215"/>
                  <a:pt x="158" y="208"/>
                  <a:pt x="163" y="198"/>
                </a:cubicBezTo>
                <a:cubicBezTo>
                  <a:pt x="203" y="209"/>
                  <a:pt x="203" y="209"/>
                  <a:pt x="203" y="209"/>
                </a:cubicBezTo>
                <a:cubicBezTo>
                  <a:pt x="203" y="210"/>
                  <a:pt x="202" y="211"/>
                  <a:pt x="202" y="212"/>
                </a:cubicBezTo>
                <a:cubicBezTo>
                  <a:pt x="202" y="223"/>
                  <a:pt x="207" y="233"/>
                  <a:pt x="214" y="240"/>
                </a:cubicBezTo>
                <a:cubicBezTo>
                  <a:pt x="190" y="277"/>
                  <a:pt x="190" y="277"/>
                  <a:pt x="190" y="277"/>
                </a:cubicBezTo>
                <a:lnTo>
                  <a:pt x="143" y="273"/>
                </a:lnTo>
                <a:close/>
                <a:moveTo>
                  <a:pt x="180" y="292"/>
                </a:moveTo>
                <a:cubicBezTo>
                  <a:pt x="156" y="329"/>
                  <a:pt x="156" y="329"/>
                  <a:pt x="156" y="329"/>
                </a:cubicBezTo>
                <a:cubicBezTo>
                  <a:pt x="153" y="328"/>
                  <a:pt x="150" y="327"/>
                  <a:pt x="146" y="327"/>
                </a:cubicBezTo>
                <a:cubicBezTo>
                  <a:pt x="144" y="289"/>
                  <a:pt x="144" y="289"/>
                  <a:pt x="144" y="289"/>
                </a:cubicBezTo>
                <a:lnTo>
                  <a:pt x="180" y="292"/>
                </a:lnTo>
                <a:close/>
                <a:moveTo>
                  <a:pt x="128" y="204"/>
                </a:moveTo>
                <a:cubicBezTo>
                  <a:pt x="115" y="204"/>
                  <a:pt x="105" y="193"/>
                  <a:pt x="105" y="180"/>
                </a:cubicBezTo>
                <a:cubicBezTo>
                  <a:pt x="105" y="168"/>
                  <a:pt x="115" y="157"/>
                  <a:pt x="128" y="157"/>
                </a:cubicBezTo>
                <a:cubicBezTo>
                  <a:pt x="141" y="157"/>
                  <a:pt x="151" y="168"/>
                  <a:pt x="151" y="180"/>
                </a:cubicBezTo>
                <a:cubicBezTo>
                  <a:pt x="151" y="193"/>
                  <a:pt x="141" y="204"/>
                  <a:pt x="128" y="204"/>
                </a:cubicBezTo>
                <a:close/>
                <a:moveTo>
                  <a:pt x="217" y="16"/>
                </a:moveTo>
                <a:cubicBezTo>
                  <a:pt x="230" y="16"/>
                  <a:pt x="240" y="27"/>
                  <a:pt x="240" y="39"/>
                </a:cubicBezTo>
                <a:cubicBezTo>
                  <a:pt x="240" y="52"/>
                  <a:pt x="230" y="63"/>
                  <a:pt x="217" y="63"/>
                </a:cubicBezTo>
                <a:cubicBezTo>
                  <a:pt x="204" y="63"/>
                  <a:pt x="193" y="52"/>
                  <a:pt x="193" y="39"/>
                </a:cubicBezTo>
                <a:cubicBezTo>
                  <a:pt x="193" y="27"/>
                  <a:pt x="204" y="16"/>
                  <a:pt x="217" y="16"/>
                </a:cubicBezTo>
                <a:close/>
                <a:moveTo>
                  <a:pt x="202" y="76"/>
                </a:moveTo>
                <a:cubicBezTo>
                  <a:pt x="207" y="78"/>
                  <a:pt x="211" y="79"/>
                  <a:pt x="217" y="79"/>
                </a:cubicBezTo>
                <a:cubicBezTo>
                  <a:pt x="228" y="79"/>
                  <a:pt x="238" y="74"/>
                  <a:pt x="245" y="67"/>
                </a:cubicBezTo>
                <a:cubicBezTo>
                  <a:pt x="306" y="104"/>
                  <a:pt x="306" y="104"/>
                  <a:pt x="306" y="104"/>
                </a:cubicBezTo>
                <a:cubicBezTo>
                  <a:pt x="306" y="105"/>
                  <a:pt x="305" y="106"/>
                  <a:pt x="305" y="106"/>
                </a:cubicBezTo>
                <a:cubicBezTo>
                  <a:pt x="190" y="96"/>
                  <a:pt x="190" y="96"/>
                  <a:pt x="190" y="96"/>
                </a:cubicBezTo>
                <a:lnTo>
                  <a:pt x="202" y="76"/>
                </a:lnTo>
                <a:close/>
                <a:moveTo>
                  <a:pt x="300" y="122"/>
                </a:moveTo>
                <a:cubicBezTo>
                  <a:pt x="163" y="162"/>
                  <a:pt x="163" y="162"/>
                  <a:pt x="163" y="162"/>
                </a:cubicBezTo>
                <a:cubicBezTo>
                  <a:pt x="161" y="158"/>
                  <a:pt x="158" y="155"/>
                  <a:pt x="155" y="152"/>
                </a:cubicBezTo>
                <a:cubicBezTo>
                  <a:pt x="180" y="111"/>
                  <a:pt x="180" y="111"/>
                  <a:pt x="180" y="111"/>
                </a:cubicBezTo>
                <a:lnTo>
                  <a:pt x="300" y="122"/>
                </a:lnTo>
                <a:close/>
                <a:moveTo>
                  <a:pt x="182" y="58"/>
                </a:moveTo>
                <a:cubicBezTo>
                  <a:pt x="184" y="61"/>
                  <a:pt x="186" y="64"/>
                  <a:pt x="189" y="67"/>
                </a:cubicBezTo>
                <a:cubicBezTo>
                  <a:pt x="172" y="95"/>
                  <a:pt x="172" y="95"/>
                  <a:pt x="172" y="95"/>
                </a:cubicBezTo>
                <a:cubicBezTo>
                  <a:pt x="83" y="87"/>
                  <a:pt x="83" y="87"/>
                  <a:pt x="83" y="87"/>
                </a:cubicBezTo>
                <a:lnTo>
                  <a:pt x="182" y="58"/>
                </a:lnTo>
                <a:close/>
                <a:moveTo>
                  <a:pt x="77" y="102"/>
                </a:moveTo>
                <a:cubicBezTo>
                  <a:pt x="162" y="110"/>
                  <a:pt x="162" y="110"/>
                  <a:pt x="162" y="110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37" y="142"/>
                  <a:pt x="133" y="141"/>
                  <a:pt x="128" y="141"/>
                </a:cubicBezTo>
                <a:cubicBezTo>
                  <a:pt x="120" y="141"/>
                  <a:pt x="113" y="143"/>
                  <a:pt x="107" y="147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74" y="109"/>
                  <a:pt x="76" y="106"/>
                  <a:pt x="77" y="102"/>
                </a:cubicBezTo>
                <a:close/>
                <a:moveTo>
                  <a:pt x="95" y="159"/>
                </a:moveTo>
                <a:cubicBezTo>
                  <a:pt x="91" y="165"/>
                  <a:pt x="89" y="172"/>
                  <a:pt x="89" y="180"/>
                </a:cubicBezTo>
                <a:cubicBezTo>
                  <a:pt x="89" y="191"/>
                  <a:pt x="92" y="200"/>
                  <a:pt x="99" y="207"/>
                </a:cubicBezTo>
                <a:cubicBezTo>
                  <a:pt x="75" y="239"/>
                  <a:pt x="75" y="239"/>
                  <a:pt x="75" y="239"/>
                </a:cubicBezTo>
                <a:cubicBezTo>
                  <a:pt x="71" y="237"/>
                  <a:pt x="67" y="236"/>
                  <a:pt x="62" y="236"/>
                </a:cubicBezTo>
                <a:cubicBezTo>
                  <a:pt x="51" y="128"/>
                  <a:pt x="51" y="128"/>
                  <a:pt x="51" y="128"/>
                </a:cubicBezTo>
                <a:cubicBezTo>
                  <a:pt x="55" y="127"/>
                  <a:pt x="58" y="126"/>
                  <a:pt x="61" y="124"/>
                </a:cubicBezTo>
                <a:lnTo>
                  <a:pt x="95" y="159"/>
                </a:lnTo>
                <a:close/>
                <a:moveTo>
                  <a:pt x="40" y="114"/>
                </a:moveTo>
                <a:cubicBezTo>
                  <a:pt x="27" y="114"/>
                  <a:pt x="16" y="104"/>
                  <a:pt x="16" y="91"/>
                </a:cubicBezTo>
                <a:cubicBezTo>
                  <a:pt x="16" y="78"/>
                  <a:pt x="27" y="67"/>
                  <a:pt x="40" y="67"/>
                </a:cubicBezTo>
                <a:cubicBezTo>
                  <a:pt x="52" y="67"/>
                  <a:pt x="63" y="78"/>
                  <a:pt x="63" y="91"/>
                </a:cubicBezTo>
                <a:cubicBezTo>
                  <a:pt x="63" y="104"/>
                  <a:pt x="52" y="114"/>
                  <a:pt x="40" y="114"/>
                </a:cubicBezTo>
                <a:close/>
                <a:moveTo>
                  <a:pt x="58" y="298"/>
                </a:moveTo>
                <a:cubicBezTo>
                  <a:pt x="45" y="298"/>
                  <a:pt x="35" y="288"/>
                  <a:pt x="35" y="275"/>
                </a:cubicBezTo>
                <a:cubicBezTo>
                  <a:pt x="35" y="262"/>
                  <a:pt x="45" y="252"/>
                  <a:pt x="58" y="252"/>
                </a:cubicBezTo>
                <a:cubicBezTo>
                  <a:pt x="71" y="252"/>
                  <a:pt x="81" y="262"/>
                  <a:pt x="81" y="275"/>
                </a:cubicBezTo>
                <a:cubicBezTo>
                  <a:pt x="81" y="288"/>
                  <a:pt x="71" y="298"/>
                  <a:pt x="58" y="298"/>
                </a:cubicBezTo>
                <a:close/>
                <a:moveTo>
                  <a:pt x="112" y="216"/>
                </a:moveTo>
                <a:cubicBezTo>
                  <a:pt x="115" y="218"/>
                  <a:pt x="119" y="219"/>
                  <a:pt x="123" y="219"/>
                </a:cubicBezTo>
                <a:cubicBezTo>
                  <a:pt x="126" y="272"/>
                  <a:pt x="126" y="272"/>
                  <a:pt x="126" y="272"/>
                </a:cubicBezTo>
                <a:cubicBezTo>
                  <a:pt x="97" y="270"/>
                  <a:pt x="97" y="270"/>
                  <a:pt x="97" y="270"/>
                </a:cubicBezTo>
                <a:cubicBezTo>
                  <a:pt x="96" y="262"/>
                  <a:pt x="93" y="255"/>
                  <a:pt x="87" y="249"/>
                </a:cubicBezTo>
                <a:lnTo>
                  <a:pt x="112" y="216"/>
                </a:lnTo>
                <a:close/>
                <a:moveTo>
                  <a:pt x="90" y="298"/>
                </a:moveTo>
                <a:cubicBezTo>
                  <a:pt x="93" y="294"/>
                  <a:pt x="95" y="290"/>
                  <a:pt x="96" y="286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30" y="328"/>
                  <a:pt x="130" y="328"/>
                  <a:pt x="130" y="328"/>
                </a:cubicBezTo>
                <a:cubicBezTo>
                  <a:pt x="127" y="329"/>
                  <a:pt x="124" y="330"/>
                  <a:pt x="121" y="332"/>
                </a:cubicBezTo>
                <a:lnTo>
                  <a:pt x="90" y="298"/>
                </a:lnTo>
                <a:close/>
                <a:moveTo>
                  <a:pt x="141" y="389"/>
                </a:moveTo>
                <a:cubicBezTo>
                  <a:pt x="128" y="389"/>
                  <a:pt x="118" y="379"/>
                  <a:pt x="118" y="366"/>
                </a:cubicBezTo>
                <a:cubicBezTo>
                  <a:pt x="118" y="353"/>
                  <a:pt x="128" y="342"/>
                  <a:pt x="141" y="342"/>
                </a:cubicBezTo>
                <a:cubicBezTo>
                  <a:pt x="154" y="342"/>
                  <a:pt x="165" y="353"/>
                  <a:pt x="165" y="366"/>
                </a:cubicBezTo>
                <a:cubicBezTo>
                  <a:pt x="165" y="379"/>
                  <a:pt x="154" y="389"/>
                  <a:pt x="141" y="389"/>
                </a:cubicBezTo>
                <a:close/>
                <a:moveTo>
                  <a:pt x="175" y="345"/>
                </a:moveTo>
                <a:cubicBezTo>
                  <a:pt x="173" y="343"/>
                  <a:pt x="171" y="340"/>
                  <a:pt x="169" y="338"/>
                </a:cubicBezTo>
                <a:cubicBezTo>
                  <a:pt x="198" y="293"/>
                  <a:pt x="198" y="293"/>
                  <a:pt x="198" y="293"/>
                </a:cubicBezTo>
                <a:cubicBezTo>
                  <a:pt x="299" y="301"/>
                  <a:pt x="299" y="301"/>
                  <a:pt x="299" y="301"/>
                </a:cubicBezTo>
                <a:cubicBezTo>
                  <a:pt x="299" y="301"/>
                  <a:pt x="299" y="301"/>
                  <a:pt x="299" y="301"/>
                </a:cubicBezTo>
                <a:lnTo>
                  <a:pt x="175" y="345"/>
                </a:lnTo>
                <a:close/>
                <a:moveTo>
                  <a:pt x="300" y="285"/>
                </a:moveTo>
                <a:cubicBezTo>
                  <a:pt x="208" y="278"/>
                  <a:pt x="208" y="278"/>
                  <a:pt x="208" y="278"/>
                </a:cubicBezTo>
                <a:cubicBezTo>
                  <a:pt x="227" y="248"/>
                  <a:pt x="227" y="248"/>
                  <a:pt x="227" y="248"/>
                </a:cubicBezTo>
                <a:cubicBezTo>
                  <a:pt x="232" y="250"/>
                  <a:pt x="237" y="251"/>
                  <a:pt x="242" y="251"/>
                </a:cubicBezTo>
                <a:cubicBezTo>
                  <a:pt x="251" y="251"/>
                  <a:pt x="259" y="248"/>
                  <a:pt x="266" y="243"/>
                </a:cubicBezTo>
                <a:cubicBezTo>
                  <a:pt x="303" y="276"/>
                  <a:pt x="303" y="276"/>
                  <a:pt x="303" y="276"/>
                </a:cubicBezTo>
                <a:cubicBezTo>
                  <a:pt x="302" y="279"/>
                  <a:pt x="301" y="282"/>
                  <a:pt x="300" y="285"/>
                </a:cubicBezTo>
                <a:close/>
                <a:moveTo>
                  <a:pt x="337" y="319"/>
                </a:moveTo>
                <a:cubicBezTo>
                  <a:pt x="325" y="319"/>
                  <a:pt x="314" y="308"/>
                  <a:pt x="314" y="295"/>
                </a:cubicBezTo>
                <a:cubicBezTo>
                  <a:pt x="314" y="282"/>
                  <a:pt x="325" y="272"/>
                  <a:pt x="337" y="272"/>
                </a:cubicBezTo>
                <a:cubicBezTo>
                  <a:pt x="350" y="272"/>
                  <a:pt x="361" y="282"/>
                  <a:pt x="361" y="295"/>
                </a:cubicBezTo>
                <a:cubicBezTo>
                  <a:pt x="361" y="308"/>
                  <a:pt x="350" y="319"/>
                  <a:pt x="337" y="3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409" name="Freeform 3"/>
          <p:cNvSpPr>
            <a:spLocks noChangeAspect="1" noEditPoints="1"/>
          </p:cNvSpPr>
          <p:nvPr/>
        </p:nvSpPr>
        <p:spPr bwMode="auto">
          <a:xfrm>
            <a:off x="7999413" y="5556250"/>
            <a:ext cx="369887" cy="392113"/>
          </a:xfrm>
          <a:custGeom>
            <a:avLst/>
            <a:gdLst>
              <a:gd name="T0" fmla="*/ 2147483646 w 382"/>
              <a:gd name="T1" fmla="*/ 2147483646 h 405"/>
              <a:gd name="T2" fmla="*/ 2147483646 w 382"/>
              <a:gd name="T3" fmla="*/ 2147483646 h 405"/>
              <a:gd name="T4" fmla="*/ 2147483646 w 382"/>
              <a:gd name="T5" fmla="*/ 2147483646 h 405"/>
              <a:gd name="T6" fmla="*/ 2147483646 w 382"/>
              <a:gd name="T7" fmla="*/ 2147483646 h 405"/>
              <a:gd name="T8" fmla="*/ 2147483646 w 382"/>
              <a:gd name="T9" fmla="*/ 2147483646 h 405"/>
              <a:gd name="T10" fmla="*/ 2147483646 w 382"/>
              <a:gd name="T11" fmla="*/ 2147483646 h 405"/>
              <a:gd name="T12" fmla="*/ 2147483646 w 382"/>
              <a:gd name="T13" fmla="*/ 2147483646 h 405"/>
              <a:gd name="T14" fmla="*/ 2147483646 w 382"/>
              <a:gd name="T15" fmla="*/ 2147483646 h 405"/>
              <a:gd name="T16" fmla="*/ 0 w 382"/>
              <a:gd name="T17" fmla="*/ 2147483646 h 405"/>
              <a:gd name="T18" fmla="*/ 2147483646 w 382"/>
              <a:gd name="T19" fmla="*/ 2147483646 h 405"/>
              <a:gd name="T20" fmla="*/ 2147483646 w 382"/>
              <a:gd name="T21" fmla="*/ 2147483646 h 405"/>
              <a:gd name="T22" fmla="*/ 2147483646 w 382"/>
              <a:gd name="T23" fmla="*/ 2147483646 h 405"/>
              <a:gd name="T24" fmla="*/ 2147483646 w 382"/>
              <a:gd name="T25" fmla="*/ 2147483646 h 405"/>
              <a:gd name="T26" fmla="*/ 2147483646 w 382"/>
              <a:gd name="T27" fmla="*/ 2147483646 h 405"/>
              <a:gd name="T28" fmla="*/ 2147483646 w 382"/>
              <a:gd name="T29" fmla="*/ 2147483646 h 405"/>
              <a:gd name="T30" fmla="*/ 2147483646 w 382"/>
              <a:gd name="T31" fmla="*/ 2147483646 h 405"/>
              <a:gd name="T32" fmla="*/ 2147483646 w 382"/>
              <a:gd name="T33" fmla="*/ 2147483646 h 405"/>
              <a:gd name="T34" fmla="*/ 2147483646 w 382"/>
              <a:gd name="T35" fmla="*/ 2147483646 h 405"/>
              <a:gd name="T36" fmla="*/ 2147483646 w 382"/>
              <a:gd name="T37" fmla="*/ 2147483646 h 405"/>
              <a:gd name="T38" fmla="*/ 2147483646 w 382"/>
              <a:gd name="T39" fmla="*/ 2147483646 h 405"/>
              <a:gd name="T40" fmla="*/ 2147483646 w 382"/>
              <a:gd name="T41" fmla="*/ 2147483646 h 405"/>
              <a:gd name="T42" fmla="*/ 2147483646 w 382"/>
              <a:gd name="T43" fmla="*/ 2147483646 h 405"/>
              <a:gd name="T44" fmla="*/ 2147483646 w 382"/>
              <a:gd name="T45" fmla="*/ 2147483646 h 405"/>
              <a:gd name="T46" fmla="*/ 2147483646 w 382"/>
              <a:gd name="T47" fmla="*/ 2147483646 h 405"/>
              <a:gd name="T48" fmla="*/ 2147483646 w 382"/>
              <a:gd name="T49" fmla="*/ 2147483646 h 405"/>
              <a:gd name="T50" fmla="*/ 2147483646 w 382"/>
              <a:gd name="T51" fmla="*/ 2147483646 h 405"/>
              <a:gd name="T52" fmla="*/ 2147483646 w 382"/>
              <a:gd name="T53" fmla="*/ 2147483646 h 405"/>
              <a:gd name="T54" fmla="*/ 2147483646 w 382"/>
              <a:gd name="T55" fmla="*/ 2147483646 h 405"/>
              <a:gd name="T56" fmla="*/ 2147483646 w 382"/>
              <a:gd name="T57" fmla="*/ 2147483646 h 405"/>
              <a:gd name="T58" fmla="*/ 2147483646 w 382"/>
              <a:gd name="T59" fmla="*/ 2147483646 h 405"/>
              <a:gd name="T60" fmla="*/ 2147483646 w 382"/>
              <a:gd name="T61" fmla="*/ 2147483646 h 405"/>
              <a:gd name="T62" fmla="*/ 2147483646 w 382"/>
              <a:gd name="T63" fmla="*/ 2147483646 h 405"/>
              <a:gd name="T64" fmla="*/ 2147483646 w 382"/>
              <a:gd name="T65" fmla="*/ 2147483646 h 405"/>
              <a:gd name="T66" fmla="*/ 2147483646 w 382"/>
              <a:gd name="T67" fmla="*/ 2147483646 h 405"/>
              <a:gd name="T68" fmla="*/ 2147483646 w 382"/>
              <a:gd name="T69" fmla="*/ 2147483646 h 405"/>
              <a:gd name="T70" fmla="*/ 2147483646 w 382"/>
              <a:gd name="T71" fmla="*/ 2147483646 h 405"/>
              <a:gd name="T72" fmla="*/ 2147483646 w 382"/>
              <a:gd name="T73" fmla="*/ 2147483646 h 405"/>
              <a:gd name="T74" fmla="*/ 2147483646 w 382"/>
              <a:gd name="T75" fmla="*/ 2147483646 h 405"/>
              <a:gd name="T76" fmla="*/ 2147483646 w 382"/>
              <a:gd name="T77" fmla="*/ 2147483646 h 405"/>
              <a:gd name="T78" fmla="*/ 2147483646 w 382"/>
              <a:gd name="T79" fmla="*/ 2147483646 h 405"/>
              <a:gd name="T80" fmla="*/ 2147483646 w 382"/>
              <a:gd name="T81" fmla="*/ 2147483646 h 405"/>
              <a:gd name="T82" fmla="*/ 2147483646 w 382"/>
              <a:gd name="T83" fmla="*/ 2147483646 h 405"/>
              <a:gd name="T84" fmla="*/ 2147483646 w 382"/>
              <a:gd name="T85" fmla="*/ 2147483646 h 405"/>
              <a:gd name="T86" fmla="*/ 2147483646 w 382"/>
              <a:gd name="T87" fmla="*/ 2147483646 h 405"/>
              <a:gd name="T88" fmla="*/ 2147483646 w 382"/>
              <a:gd name="T89" fmla="*/ 2147483646 h 405"/>
              <a:gd name="T90" fmla="*/ 2147483646 w 382"/>
              <a:gd name="T91" fmla="*/ 2147483646 h 405"/>
              <a:gd name="T92" fmla="*/ 2147483646 w 382"/>
              <a:gd name="T93" fmla="*/ 2147483646 h 405"/>
              <a:gd name="T94" fmla="*/ 2147483646 w 382"/>
              <a:gd name="T95" fmla="*/ 2147483646 h 405"/>
              <a:gd name="T96" fmla="*/ 2147483646 w 382"/>
              <a:gd name="T97" fmla="*/ 2147483646 h 405"/>
              <a:gd name="T98" fmla="*/ 2147483646 w 382"/>
              <a:gd name="T99" fmla="*/ 2147483646 h 405"/>
              <a:gd name="T100" fmla="*/ 2147483646 w 382"/>
              <a:gd name="T101" fmla="*/ 2147483646 h 405"/>
              <a:gd name="T102" fmla="*/ 2147483646 w 382"/>
              <a:gd name="T103" fmla="*/ 2147483646 h 405"/>
              <a:gd name="T104" fmla="*/ 2147483646 w 382"/>
              <a:gd name="T105" fmla="*/ 2147483646 h 40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382" h="405">
                <a:moveTo>
                  <a:pt x="347" y="257"/>
                </a:moveTo>
                <a:cubicBezTo>
                  <a:pt x="348" y="202"/>
                  <a:pt x="348" y="202"/>
                  <a:pt x="348" y="202"/>
                </a:cubicBezTo>
                <a:cubicBezTo>
                  <a:pt x="349" y="198"/>
                  <a:pt x="345" y="194"/>
                  <a:pt x="341" y="194"/>
                </a:cubicBezTo>
                <a:cubicBezTo>
                  <a:pt x="336" y="194"/>
                  <a:pt x="333" y="197"/>
                  <a:pt x="332" y="202"/>
                </a:cubicBezTo>
                <a:cubicBezTo>
                  <a:pt x="331" y="257"/>
                  <a:pt x="331" y="257"/>
                  <a:pt x="331" y="257"/>
                </a:cubicBezTo>
                <a:cubicBezTo>
                  <a:pt x="325" y="258"/>
                  <a:pt x="319" y="260"/>
                  <a:pt x="314" y="264"/>
                </a:cubicBezTo>
                <a:cubicBezTo>
                  <a:pt x="276" y="231"/>
                  <a:pt x="276" y="231"/>
                  <a:pt x="276" y="231"/>
                </a:cubicBezTo>
                <a:cubicBezTo>
                  <a:pt x="279" y="225"/>
                  <a:pt x="281" y="219"/>
                  <a:pt x="281" y="212"/>
                </a:cubicBezTo>
                <a:cubicBezTo>
                  <a:pt x="281" y="204"/>
                  <a:pt x="279" y="197"/>
                  <a:pt x="275" y="191"/>
                </a:cubicBezTo>
                <a:cubicBezTo>
                  <a:pt x="320" y="150"/>
                  <a:pt x="320" y="150"/>
                  <a:pt x="320" y="150"/>
                </a:cubicBezTo>
                <a:cubicBezTo>
                  <a:pt x="324" y="153"/>
                  <a:pt x="329" y="155"/>
                  <a:pt x="334" y="156"/>
                </a:cubicBezTo>
                <a:cubicBezTo>
                  <a:pt x="333" y="170"/>
                  <a:pt x="333" y="170"/>
                  <a:pt x="333" y="170"/>
                </a:cubicBezTo>
                <a:cubicBezTo>
                  <a:pt x="333" y="175"/>
                  <a:pt x="337" y="178"/>
                  <a:pt x="341" y="178"/>
                </a:cubicBezTo>
                <a:cubicBezTo>
                  <a:pt x="341" y="178"/>
                  <a:pt x="341" y="178"/>
                  <a:pt x="341" y="178"/>
                </a:cubicBezTo>
                <a:cubicBezTo>
                  <a:pt x="346" y="178"/>
                  <a:pt x="349" y="175"/>
                  <a:pt x="349" y="171"/>
                </a:cubicBezTo>
                <a:cubicBezTo>
                  <a:pt x="350" y="157"/>
                  <a:pt x="350" y="157"/>
                  <a:pt x="350" y="157"/>
                </a:cubicBezTo>
                <a:cubicBezTo>
                  <a:pt x="368" y="153"/>
                  <a:pt x="382" y="137"/>
                  <a:pt x="382" y="118"/>
                </a:cubicBezTo>
                <a:cubicBezTo>
                  <a:pt x="382" y="96"/>
                  <a:pt x="365" y="78"/>
                  <a:pt x="343" y="78"/>
                </a:cubicBezTo>
                <a:cubicBezTo>
                  <a:pt x="332" y="78"/>
                  <a:pt x="322" y="83"/>
                  <a:pt x="314" y="91"/>
                </a:cubicBezTo>
                <a:cubicBezTo>
                  <a:pt x="254" y="53"/>
                  <a:pt x="254" y="53"/>
                  <a:pt x="254" y="53"/>
                </a:cubicBezTo>
                <a:cubicBezTo>
                  <a:pt x="255" y="49"/>
                  <a:pt x="256" y="44"/>
                  <a:pt x="256" y="39"/>
                </a:cubicBezTo>
                <a:cubicBezTo>
                  <a:pt x="256" y="18"/>
                  <a:pt x="238" y="0"/>
                  <a:pt x="217" y="0"/>
                </a:cubicBezTo>
                <a:cubicBezTo>
                  <a:pt x="195" y="0"/>
                  <a:pt x="177" y="18"/>
                  <a:pt x="177" y="39"/>
                </a:cubicBezTo>
                <a:cubicBezTo>
                  <a:pt x="177" y="40"/>
                  <a:pt x="177" y="41"/>
                  <a:pt x="177" y="42"/>
                </a:cubicBezTo>
                <a:cubicBezTo>
                  <a:pt x="74" y="72"/>
                  <a:pt x="74" y="72"/>
                  <a:pt x="74" y="72"/>
                </a:cubicBezTo>
                <a:cubicBezTo>
                  <a:pt x="68" y="60"/>
                  <a:pt x="55" y="51"/>
                  <a:pt x="40" y="51"/>
                </a:cubicBezTo>
                <a:cubicBezTo>
                  <a:pt x="18" y="51"/>
                  <a:pt x="0" y="69"/>
                  <a:pt x="0" y="91"/>
                </a:cubicBezTo>
                <a:cubicBezTo>
                  <a:pt x="0" y="111"/>
                  <a:pt x="16" y="128"/>
                  <a:pt x="35" y="130"/>
                </a:cubicBezTo>
                <a:cubicBezTo>
                  <a:pt x="46" y="237"/>
                  <a:pt x="46" y="237"/>
                  <a:pt x="46" y="237"/>
                </a:cubicBezTo>
                <a:cubicBezTo>
                  <a:pt x="30" y="242"/>
                  <a:pt x="19" y="257"/>
                  <a:pt x="19" y="275"/>
                </a:cubicBezTo>
                <a:cubicBezTo>
                  <a:pt x="19" y="297"/>
                  <a:pt x="36" y="314"/>
                  <a:pt x="58" y="314"/>
                </a:cubicBezTo>
                <a:cubicBezTo>
                  <a:pt x="65" y="314"/>
                  <a:pt x="72" y="312"/>
                  <a:pt x="78" y="309"/>
                </a:cubicBezTo>
                <a:cubicBezTo>
                  <a:pt x="109" y="343"/>
                  <a:pt x="109" y="343"/>
                  <a:pt x="109" y="343"/>
                </a:cubicBezTo>
                <a:cubicBezTo>
                  <a:pt x="105" y="349"/>
                  <a:pt x="102" y="357"/>
                  <a:pt x="102" y="366"/>
                </a:cubicBezTo>
                <a:cubicBezTo>
                  <a:pt x="102" y="387"/>
                  <a:pt x="119" y="405"/>
                  <a:pt x="141" y="405"/>
                </a:cubicBezTo>
                <a:cubicBezTo>
                  <a:pt x="163" y="405"/>
                  <a:pt x="181" y="387"/>
                  <a:pt x="181" y="366"/>
                </a:cubicBezTo>
                <a:cubicBezTo>
                  <a:pt x="181" y="364"/>
                  <a:pt x="180" y="362"/>
                  <a:pt x="180" y="360"/>
                </a:cubicBezTo>
                <a:cubicBezTo>
                  <a:pt x="304" y="316"/>
                  <a:pt x="304" y="316"/>
                  <a:pt x="304" y="316"/>
                </a:cubicBezTo>
                <a:cubicBezTo>
                  <a:pt x="311" y="327"/>
                  <a:pt x="323" y="335"/>
                  <a:pt x="337" y="335"/>
                </a:cubicBezTo>
                <a:cubicBezTo>
                  <a:pt x="359" y="335"/>
                  <a:pt x="377" y="317"/>
                  <a:pt x="377" y="295"/>
                </a:cubicBezTo>
                <a:cubicBezTo>
                  <a:pt x="377" y="277"/>
                  <a:pt x="364" y="261"/>
                  <a:pt x="347" y="257"/>
                </a:cubicBezTo>
                <a:close/>
                <a:moveTo>
                  <a:pt x="343" y="94"/>
                </a:moveTo>
                <a:cubicBezTo>
                  <a:pt x="356" y="94"/>
                  <a:pt x="366" y="105"/>
                  <a:pt x="366" y="118"/>
                </a:cubicBezTo>
                <a:cubicBezTo>
                  <a:pt x="366" y="131"/>
                  <a:pt x="356" y="141"/>
                  <a:pt x="343" y="141"/>
                </a:cubicBezTo>
                <a:cubicBezTo>
                  <a:pt x="330" y="141"/>
                  <a:pt x="320" y="131"/>
                  <a:pt x="320" y="118"/>
                </a:cubicBezTo>
                <a:cubicBezTo>
                  <a:pt x="320" y="105"/>
                  <a:pt x="330" y="94"/>
                  <a:pt x="343" y="94"/>
                </a:cubicBezTo>
                <a:close/>
                <a:moveTo>
                  <a:pt x="309" y="138"/>
                </a:moveTo>
                <a:cubicBezTo>
                  <a:pt x="265" y="180"/>
                  <a:pt x="265" y="180"/>
                  <a:pt x="265" y="180"/>
                </a:cubicBezTo>
                <a:cubicBezTo>
                  <a:pt x="258" y="175"/>
                  <a:pt x="250" y="173"/>
                  <a:pt x="242" y="173"/>
                </a:cubicBezTo>
                <a:cubicBezTo>
                  <a:pt x="227" y="173"/>
                  <a:pt x="213" y="181"/>
                  <a:pt x="207" y="194"/>
                </a:cubicBezTo>
                <a:cubicBezTo>
                  <a:pt x="167" y="183"/>
                  <a:pt x="167" y="183"/>
                  <a:pt x="167" y="183"/>
                </a:cubicBezTo>
                <a:cubicBezTo>
                  <a:pt x="167" y="182"/>
                  <a:pt x="167" y="181"/>
                  <a:pt x="167" y="180"/>
                </a:cubicBezTo>
                <a:cubicBezTo>
                  <a:pt x="167" y="179"/>
                  <a:pt x="167" y="178"/>
                  <a:pt x="167" y="177"/>
                </a:cubicBezTo>
                <a:cubicBezTo>
                  <a:pt x="308" y="136"/>
                  <a:pt x="308" y="136"/>
                  <a:pt x="308" y="136"/>
                </a:cubicBezTo>
                <a:cubicBezTo>
                  <a:pt x="308" y="137"/>
                  <a:pt x="309" y="138"/>
                  <a:pt x="309" y="138"/>
                </a:cubicBezTo>
                <a:close/>
                <a:moveTo>
                  <a:pt x="265" y="212"/>
                </a:moveTo>
                <a:cubicBezTo>
                  <a:pt x="265" y="225"/>
                  <a:pt x="255" y="235"/>
                  <a:pt x="242" y="235"/>
                </a:cubicBezTo>
                <a:cubicBezTo>
                  <a:pt x="229" y="235"/>
                  <a:pt x="218" y="225"/>
                  <a:pt x="218" y="212"/>
                </a:cubicBezTo>
                <a:cubicBezTo>
                  <a:pt x="218" y="199"/>
                  <a:pt x="229" y="189"/>
                  <a:pt x="242" y="189"/>
                </a:cubicBezTo>
                <a:cubicBezTo>
                  <a:pt x="255" y="189"/>
                  <a:pt x="265" y="199"/>
                  <a:pt x="265" y="212"/>
                </a:cubicBezTo>
                <a:close/>
                <a:moveTo>
                  <a:pt x="143" y="273"/>
                </a:moveTo>
                <a:cubicBezTo>
                  <a:pt x="139" y="218"/>
                  <a:pt x="139" y="218"/>
                  <a:pt x="139" y="218"/>
                </a:cubicBezTo>
                <a:cubicBezTo>
                  <a:pt x="149" y="215"/>
                  <a:pt x="158" y="208"/>
                  <a:pt x="163" y="198"/>
                </a:cubicBezTo>
                <a:cubicBezTo>
                  <a:pt x="203" y="209"/>
                  <a:pt x="203" y="209"/>
                  <a:pt x="203" y="209"/>
                </a:cubicBezTo>
                <a:cubicBezTo>
                  <a:pt x="203" y="210"/>
                  <a:pt x="202" y="211"/>
                  <a:pt x="202" y="212"/>
                </a:cubicBezTo>
                <a:cubicBezTo>
                  <a:pt x="202" y="223"/>
                  <a:pt x="207" y="233"/>
                  <a:pt x="214" y="240"/>
                </a:cubicBezTo>
                <a:cubicBezTo>
                  <a:pt x="190" y="277"/>
                  <a:pt x="190" y="277"/>
                  <a:pt x="190" y="277"/>
                </a:cubicBezTo>
                <a:lnTo>
                  <a:pt x="143" y="273"/>
                </a:lnTo>
                <a:close/>
                <a:moveTo>
                  <a:pt x="180" y="292"/>
                </a:moveTo>
                <a:cubicBezTo>
                  <a:pt x="156" y="329"/>
                  <a:pt x="156" y="329"/>
                  <a:pt x="156" y="329"/>
                </a:cubicBezTo>
                <a:cubicBezTo>
                  <a:pt x="153" y="328"/>
                  <a:pt x="150" y="327"/>
                  <a:pt x="146" y="327"/>
                </a:cubicBezTo>
                <a:cubicBezTo>
                  <a:pt x="144" y="289"/>
                  <a:pt x="144" y="289"/>
                  <a:pt x="144" y="289"/>
                </a:cubicBezTo>
                <a:lnTo>
                  <a:pt x="180" y="292"/>
                </a:lnTo>
                <a:close/>
                <a:moveTo>
                  <a:pt x="128" y="204"/>
                </a:moveTo>
                <a:cubicBezTo>
                  <a:pt x="115" y="204"/>
                  <a:pt x="105" y="193"/>
                  <a:pt x="105" y="180"/>
                </a:cubicBezTo>
                <a:cubicBezTo>
                  <a:pt x="105" y="168"/>
                  <a:pt x="115" y="157"/>
                  <a:pt x="128" y="157"/>
                </a:cubicBezTo>
                <a:cubicBezTo>
                  <a:pt x="141" y="157"/>
                  <a:pt x="151" y="168"/>
                  <a:pt x="151" y="180"/>
                </a:cubicBezTo>
                <a:cubicBezTo>
                  <a:pt x="151" y="193"/>
                  <a:pt x="141" y="204"/>
                  <a:pt x="128" y="204"/>
                </a:cubicBezTo>
                <a:close/>
                <a:moveTo>
                  <a:pt x="217" y="16"/>
                </a:moveTo>
                <a:cubicBezTo>
                  <a:pt x="230" y="16"/>
                  <a:pt x="240" y="27"/>
                  <a:pt x="240" y="39"/>
                </a:cubicBezTo>
                <a:cubicBezTo>
                  <a:pt x="240" y="52"/>
                  <a:pt x="230" y="63"/>
                  <a:pt x="217" y="63"/>
                </a:cubicBezTo>
                <a:cubicBezTo>
                  <a:pt x="204" y="63"/>
                  <a:pt x="193" y="52"/>
                  <a:pt x="193" y="39"/>
                </a:cubicBezTo>
                <a:cubicBezTo>
                  <a:pt x="193" y="27"/>
                  <a:pt x="204" y="16"/>
                  <a:pt x="217" y="16"/>
                </a:cubicBezTo>
                <a:close/>
                <a:moveTo>
                  <a:pt x="202" y="76"/>
                </a:moveTo>
                <a:cubicBezTo>
                  <a:pt x="207" y="78"/>
                  <a:pt x="211" y="79"/>
                  <a:pt x="217" y="79"/>
                </a:cubicBezTo>
                <a:cubicBezTo>
                  <a:pt x="228" y="79"/>
                  <a:pt x="238" y="74"/>
                  <a:pt x="245" y="67"/>
                </a:cubicBezTo>
                <a:cubicBezTo>
                  <a:pt x="306" y="104"/>
                  <a:pt x="306" y="104"/>
                  <a:pt x="306" y="104"/>
                </a:cubicBezTo>
                <a:cubicBezTo>
                  <a:pt x="306" y="105"/>
                  <a:pt x="305" y="106"/>
                  <a:pt x="305" y="106"/>
                </a:cubicBezTo>
                <a:cubicBezTo>
                  <a:pt x="190" y="96"/>
                  <a:pt x="190" y="96"/>
                  <a:pt x="190" y="96"/>
                </a:cubicBezTo>
                <a:lnTo>
                  <a:pt x="202" y="76"/>
                </a:lnTo>
                <a:close/>
                <a:moveTo>
                  <a:pt x="300" y="122"/>
                </a:moveTo>
                <a:cubicBezTo>
                  <a:pt x="163" y="162"/>
                  <a:pt x="163" y="162"/>
                  <a:pt x="163" y="162"/>
                </a:cubicBezTo>
                <a:cubicBezTo>
                  <a:pt x="161" y="158"/>
                  <a:pt x="158" y="155"/>
                  <a:pt x="155" y="152"/>
                </a:cubicBezTo>
                <a:cubicBezTo>
                  <a:pt x="180" y="111"/>
                  <a:pt x="180" y="111"/>
                  <a:pt x="180" y="111"/>
                </a:cubicBezTo>
                <a:lnTo>
                  <a:pt x="300" y="122"/>
                </a:lnTo>
                <a:close/>
                <a:moveTo>
                  <a:pt x="182" y="58"/>
                </a:moveTo>
                <a:cubicBezTo>
                  <a:pt x="184" y="61"/>
                  <a:pt x="186" y="64"/>
                  <a:pt x="189" y="67"/>
                </a:cubicBezTo>
                <a:cubicBezTo>
                  <a:pt x="172" y="95"/>
                  <a:pt x="172" y="95"/>
                  <a:pt x="172" y="95"/>
                </a:cubicBezTo>
                <a:cubicBezTo>
                  <a:pt x="83" y="87"/>
                  <a:pt x="83" y="87"/>
                  <a:pt x="83" y="87"/>
                </a:cubicBezTo>
                <a:lnTo>
                  <a:pt x="182" y="58"/>
                </a:lnTo>
                <a:close/>
                <a:moveTo>
                  <a:pt x="77" y="102"/>
                </a:moveTo>
                <a:cubicBezTo>
                  <a:pt x="162" y="110"/>
                  <a:pt x="162" y="110"/>
                  <a:pt x="162" y="110"/>
                </a:cubicBezTo>
                <a:cubicBezTo>
                  <a:pt x="141" y="144"/>
                  <a:pt x="141" y="144"/>
                  <a:pt x="141" y="144"/>
                </a:cubicBezTo>
                <a:cubicBezTo>
                  <a:pt x="137" y="142"/>
                  <a:pt x="133" y="141"/>
                  <a:pt x="128" y="141"/>
                </a:cubicBezTo>
                <a:cubicBezTo>
                  <a:pt x="120" y="141"/>
                  <a:pt x="113" y="143"/>
                  <a:pt x="107" y="147"/>
                </a:cubicBezTo>
                <a:cubicBezTo>
                  <a:pt x="72" y="113"/>
                  <a:pt x="72" y="113"/>
                  <a:pt x="72" y="113"/>
                </a:cubicBezTo>
                <a:cubicBezTo>
                  <a:pt x="74" y="109"/>
                  <a:pt x="76" y="106"/>
                  <a:pt x="77" y="102"/>
                </a:cubicBezTo>
                <a:close/>
                <a:moveTo>
                  <a:pt x="95" y="159"/>
                </a:moveTo>
                <a:cubicBezTo>
                  <a:pt x="91" y="165"/>
                  <a:pt x="89" y="172"/>
                  <a:pt x="89" y="180"/>
                </a:cubicBezTo>
                <a:cubicBezTo>
                  <a:pt x="89" y="191"/>
                  <a:pt x="92" y="200"/>
                  <a:pt x="99" y="207"/>
                </a:cubicBezTo>
                <a:cubicBezTo>
                  <a:pt x="75" y="239"/>
                  <a:pt x="75" y="239"/>
                  <a:pt x="75" y="239"/>
                </a:cubicBezTo>
                <a:cubicBezTo>
                  <a:pt x="71" y="237"/>
                  <a:pt x="67" y="236"/>
                  <a:pt x="62" y="236"/>
                </a:cubicBezTo>
                <a:cubicBezTo>
                  <a:pt x="51" y="128"/>
                  <a:pt x="51" y="128"/>
                  <a:pt x="51" y="128"/>
                </a:cubicBezTo>
                <a:cubicBezTo>
                  <a:pt x="55" y="127"/>
                  <a:pt x="58" y="126"/>
                  <a:pt x="61" y="124"/>
                </a:cubicBezTo>
                <a:lnTo>
                  <a:pt x="95" y="159"/>
                </a:lnTo>
                <a:close/>
                <a:moveTo>
                  <a:pt x="40" y="114"/>
                </a:moveTo>
                <a:cubicBezTo>
                  <a:pt x="27" y="114"/>
                  <a:pt x="16" y="104"/>
                  <a:pt x="16" y="91"/>
                </a:cubicBezTo>
                <a:cubicBezTo>
                  <a:pt x="16" y="78"/>
                  <a:pt x="27" y="67"/>
                  <a:pt x="40" y="67"/>
                </a:cubicBezTo>
                <a:cubicBezTo>
                  <a:pt x="52" y="67"/>
                  <a:pt x="63" y="78"/>
                  <a:pt x="63" y="91"/>
                </a:cubicBezTo>
                <a:cubicBezTo>
                  <a:pt x="63" y="104"/>
                  <a:pt x="52" y="114"/>
                  <a:pt x="40" y="114"/>
                </a:cubicBezTo>
                <a:close/>
                <a:moveTo>
                  <a:pt x="58" y="298"/>
                </a:moveTo>
                <a:cubicBezTo>
                  <a:pt x="45" y="298"/>
                  <a:pt x="35" y="288"/>
                  <a:pt x="35" y="275"/>
                </a:cubicBezTo>
                <a:cubicBezTo>
                  <a:pt x="35" y="262"/>
                  <a:pt x="45" y="252"/>
                  <a:pt x="58" y="252"/>
                </a:cubicBezTo>
                <a:cubicBezTo>
                  <a:pt x="71" y="252"/>
                  <a:pt x="81" y="262"/>
                  <a:pt x="81" y="275"/>
                </a:cubicBezTo>
                <a:cubicBezTo>
                  <a:pt x="81" y="288"/>
                  <a:pt x="71" y="298"/>
                  <a:pt x="58" y="298"/>
                </a:cubicBezTo>
                <a:close/>
                <a:moveTo>
                  <a:pt x="112" y="216"/>
                </a:moveTo>
                <a:cubicBezTo>
                  <a:pt x="115" y="218"/>
                  <a:pt x="119" y="219"/>
                  <a:pt x="123" y="219"/>
                </a:cubicBezTo>
                <a:cubicBezTo>
                  <a:pt x="126" y="272"/>
                  <a:pt x="126" y="272"/>
                  <a:pt x="126" y="272"/>
                </a:cubicBezTo>
                <a:cubicBezTo>
                  <a:pt x="97" y="270"/>
                  <a:pt x="97" y="270"/>
                  <a:pt x="97" y="270"/>
                </a:cubicBezTo>
                <a:cubicBezTo>
                  <a:pt x="96" y="262"/>
                  <a:pt x="93" y="255"/>
                  <a:pt x="87" y="249"/>
                </a:cubicBezTo>
                <a:lnTo>
                  <a:pt x="112" y="216"/>
                </a:lnTo>
                <a:close/>
                <a:moveTo>
                  <a:pt x="90" y="298"/>
                </a:moveTo>
                <a:cubicBezTo>
                  <a:pt x="93" y="294"/>
                  <a:pt x="95" y="290"/>
                  <a:pt x="96" y="286"/>
                </a:cubicBezTo>
                <a:cubicBezTo>
                  <a:pt x="128" y="288"/>
                  <a:pt x="128" y="288"/>
                  <a:pt x="128" y="288"/>
                </a:cubicBezTo>
                <a:cubicBezTo>
                  <a:pt x="130" y="328"/>
                  <a:pt x="130" y="328"/>
                  <a:pt x="130" y="328"/>
                </a:cubicBezTo>
                <a:cubicBezTo>
                  <a:pt x="127" y="329"/>
                  <a:pt x="124" y="330"/>
                  <a:pt x="121" y="332"/>
                </a:cubicBezTo>
                <a:lnTo>
                  <a:pt x="90" y="298"/>
                </a:lnTo>
                <a:close/>
                <a:moveTo>
                  <a:pt x="141" y="389"/>
                </a:moveTo>
                <a:cubicBezTo>
                  <a:pt x="128" y="389"/>
                  <a:pt x="118" y="379"/>
                  <a:pt x="118" y="366"/>
                </a:cubicBezTo>
                <a:cubicBezTo>
                  <a:pt x="118" y="353"/>
                  <a:pt x="128" y="342"/>
                  <a:pt x="141" y="342"/>
                </a:cubicBezTo>
                <a:cubicBezTo>
                  <a:pt x="154" y="342"/>
                  <a:pt x="165" y="353"/>
                  <a:pt x="165" y="366"/>
                </a:cubicBezTo>
                <a:cubicBezTo>
                  <a:pt x="165" y="379"/>
                  <a:pt x="154" y="389"/>
                  <a:pt x="141" y="389"/>
                </a:cubicBezTo>
                <a:close/>
                <a:moveTo>
                  <a:pt x="175" y="345"/>
                </a:moveTo>
                <a:cubicBezTo>
                  <a:pt x="173" y="343"/>
                  <a:pt x="171" y="340"/>
                  <a:pt x="169" y="338"/>
                </a:cubicBezTo>
                <a:cubicBezTo>
                  <a:pt x="198" y="293"/>
                  <a:pt x="198" y="293"/>
                  <a:pt x="198" y="293"/>
                </a:cubicBezTo>
                <a:cubicBezTo>
                  <a:pt x="299" y="301"/>
                  <a:pt x="299" y="301"/>
                  <a:pt x="299" y="301"/>
                </a:cubicBezTo>
                <a:cubicBezTo>
                  <a:pt x="299" y="301"/>
                  <a:pt x="299" y="301"/>
                  <a:pt x="299" y="301"/>
                </a:cubicBezTo>
                <a:lnTo>
                  <a:pt x="175" y="345"/>
                </a:lnTo>
                <a:close/>
                <a:moveTo>
                  <a:pt x="300" y="285"/>
                </a:moveTo>
                <a:cubicBezTo>
                  <a:pt x="208" y="278"/>
                  <a:pt x="208" y="278"/>
                  <a:pt x="208" y="278"/>
                </a:cubicBezTo>
                <a:cubicBezTo>
                  <a:pt x="227" y="248"/>
                  <a:pt x="227" y="248"/>
                  <a:pt x="227" y="248"/>
                </a:cubicBezTo>
                <a:cubicBezTo>
                  <a:pt x="232" y="250"/>
                  <a:pt x="237" y="251"/>
                  <a:pt x="242" y="251"/>
                </a:cubicBezTo>
                <a:cubicBezTo>
                  <a:pt x="251" y="251"/>
                  <a:pt x="259" y="248"/>
                  <a:pt x="266" y="243"/>
                </a:cubicBezTo>
                <a:cubicBezTo>
                  <a:pt x="303" y="276"/>
                  <a:pt x="303" y="276"/>
                  <a:pt x="303" y="276"/>
                </a:cubicBezTo>
                <a:cubicBezTo>
                  <a:pt x="302" y="279"/>
                  <a:pt x="301" y="282"/>
                  <a:pt x="300" y="285"/>
                </a:cubicBezTo>
                <a:close/>
                <a:moveTo>
                  <a:pt x="337" y="319"/>
                </a:moveTo>
                <a:cubicBezTo>
                  <a:pt x="325" y="319"/>
                  <a:pt x="314" y="308"/>
                  <a:pt x="314" y="295"/>
                </a:cubicBezTo>
                <a:cubicBezTo>
                  <a:pt x="314" y="282"/>
                  <a:pt x="325" y="272"/>
                  <a:pt x="337" y="272"/>
                </a:cubicBezTo>
                <a:cubicBezTo>
                  <a:pt x="350" y="272"/>
                  <a:pt x="361" y="282"/>
                  <a:pt x="361" y="295"/>
                </a:cubicBezTo>
                <a:cubicBezTo>
                  <a:pt x="361" y="308"/>
                  <a:pt x="350" y="319"/>
                  <a:pt x="337" y="319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6" name="Rectangle 2"/>
          <p:cNvSpPr txBox="1">
            <a:spLocks noChangeArrowheads="1"/>
          </p:cNvSpPr>
          <p:nvPr/>
        </p:nvSpPr>
        <p:spPr bwMode="auto">
          <a:xfrm>
            <a:off x="560388" y="242888"/>
            <a:ext cx="9802812" cy="108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72000" bIns="0" anchor="ctr">
            <a:normAutofit/>
          </a:bodyPr>
          <a:lstStyle>
            <a:lvl1pPr algn="l" rtl="0" eaLnBrk="1" fontAlgn="base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Ericsson Capital T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Capital TT" pitchFamily="2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7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Capital TT" pitchFamily="2" charset="0"/>
                <a:ea typeface="+mj-ea"/>
                <a:cs typeface="+mj-cs"/>
              </a:rPr>
              <a:t>5g core – </a:t>
            </a:r>
            <a:r>
              <a:rPr kumimoji="0" lang="hu-HU" altLang="en-US" sz="4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Capital TT" pitchFamily="2" charset="0"/>
                <a:ea typeface="+mj-ea"/>
                <a:cs typeface="+mj-cs"/>
              </a:rPr>
              <a:t>Kulcs koncepciók</a:t>
            </a:r>
            <a:endParaRPr kumimoji="0" lang="en-US" altLang="en-US" sz="4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ricsson Capital TT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20869086"/>
      </p:ext>
    </p:extLst>
  </p:cSld>
  <p:clrMapOvr>
    <a:masterClrMapping/>
  </p:clrMapOvr>
  <p:transition spd="slow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36456E3E-75B2-4F9F-B928-52BF061969B9}"/>
              </a:ext>
            </a:extLst>
          </p:cNvPr>
          <p:cNvSpPr/>
          <p:nvPr/>
        </p:nvSpPr>
        <p:spPr bwMode="auto">
          <a:xfrm>
            <a:off x="4311057" y="1135118"/>
            <a:ext cx="3549064" cy="2125331"/>
          </a:xfrm>
          <a:prstGeom prst="roundRect">
            <a:avLst/>
          </a:prstGeom>
          <a:solidFill>
            <a:schemeClr val="accent3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0E21B580-0F00-48FE-8AFD-65E18925A9F8}"/>
              </a:ext>
            </a:extLst>
          </p:cNvPr>
          <p:cNvSpPr/>
          <p:nvPr/>
        </p:nvSpPr>
        <p:spPr bwMode="auto">
          <a:xfrm>
            <a:off x="6017212" y="1135118"/>
            <a:ext cx="3549064" cy="5411082"/>
          </a:xfrm>
          <a:prstGeom prst="roundRect">
            <a:avLst/>
          </a:prstGeom>
          <a:solidFill>
            <a:schemeClr val="accent3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F6713AAF-5806-4117-9AB5-9FF7688034D6}"/>
              </a:ext>
            </a:extLst>
          </p:cNvPr>
          <p:cNvSpPr/>
          <p:nvPr/>
        </p:nvSpPr>
        <p:spPr bwMode="auto">
          <a:xfrm>
            <a:off x="2207313" y="4118056"/>
            <a:ext cx="3549064" cy="2447803"/>
          </a:xfrm>
          <a:prstGeom prst="roundRect">
            <a:avLst/>
          </a:prstGeom>
          <a:solidFill>
            <a:schemeClr val="accent3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605" name="Freeform 4"/>
          <p:cNvSpPr>
            <a:spLocks noChangeAspect="1" noEditPoints="1"/>
          </p:cNvSpPr>
          <p:nvPr/>
        </p:nvSpPr>
        <p:spPr bwMode="auto">
          <a:xfrm>
            <a:off x="770516" y="4975430"/>
            <a:ext cx="506412" cy="693737"/>
          </a:xfrm>
          <a:custGeom>
            <a:avLst/>
            <a:gdLst>
              <a:gd name="T0" fmla="*/ 2147483646 w 241"/>
              <a:gd name="T1" fmla="*/ 2147483646 h 383"/>
              <a:gd name="T2" fmla="*/ 2147483646 w 241"/>
              <a:gd name="T3" fmla="*/ 2147483646 h 383"/>
              <a:gd name="T4" fmla="*/ 2147483646 w 241"/>
              <a:gd name="T5" fmla="*/ 2147483646 h 383"/>
              <a:gd name="T6" fmla="*/ 2147483646 w 241"/>
              <a:gd name="T7" fmla="*/ 2147483646 h 383"/>
              <a:gd name="T8" fmla="*/ 2147483646 w 241"/>
              <a:gd name="T9" fmla="*/ 2147483646 h 383"/>
              <a:gd name="T10" fmla="*/ 2147483646 w 241"/>
              <a:gd name="T11" fmla="*/ 2147483646 h 383"/>
              <a:gd name="T12" fmla="*/ 2147483646 w 241"/>
              <a:gd name="T13" fmla="*/ 2147483646 h 383"/>
              <a:gd name="T14" fmla="*/ 2147483646 w 241"/>
              <a:gd name="T15" fmla="*/ 2147483646 h 383"/>
              <a:gd name="T16" fmla="*/ 2147483646 w 241"/>
              <a:gd name="T17" fmla="*/ 0 h 383"/>
              <a:gd name="T18" fmla="*/ 2147483646 w 241"/>
              <a:gd name="T19" fmla="*/ 0 h 383"/>
              <a:gd name="T20" fmla="*/ 0 w 241"/>
              <a:gd name="T21" fmla="*/ 2147483646 h 383"/>
              <a:gd name="T22" fmla="*/ 0 w 241"/>
              <a:gd name="T23" fmla="*/ 2147483646 h 383"/>
              <a:gd name="T24" fmla="*/ 2147483646 w 241"/>
              <a:gd name="T25" fmla="*/ 2147483646 h 383"/>
              <a:gd name="T26" fmla="*/ 2147483646 w 241"/>
              <a:gd name="T27" fmla="*/ 2147483646 h 383"/>
              <a:gd name="T28" fmla="*/ 2147483646 w 241"/>
              <a:gd name="T29" fmla="*/ 2147483646 h 383"/>
              <a:gd name="T30" fmla="*/ 2147483646 w 241"/>
              <a:gd name="T31" fmla="*/ 2147483646 h 383"/>
              <a:gd name="T32" fmla="*/ 2147483646 w 241"/>
              <a:gd name="T33" fmla="*/ 2147483646 h 383"/>
              <a:gd name="T34" fmla="*/ 2147483646 w 241"/>
              <a:gd name="T35" fmla="*/ 2147483646 h 383"/>
              <a:gd name="T36" fmla="*/ 2147483646 w 241"/>
              <a:gd name="T37" fmla="*/ 2147483646 h 383"/>
              <a:gd name="T38" fmla="*/ 2147483646 w 241"/>
              <a:gd name="T39" fmla="*/ 2147483646 h 383"/>
              <a:gd name="T40" fmla="*/ 2147483646 w 241"/>
              <a:gd name="T41" fmla="*/ 2147483646 h 383"/>
              <a:gd name="T42" fmla="*/ 2147483646 w 241"/>
              <a:gd name="T43" fmla="*/ 2147483646 h 383"/>
              <a:gd name="T44" fmla="*/ 2147483646 w 241"/>
              <a:gd name="T45" fmla="*/ 2147483646 h 383"/>
              <a:gd name="T46" fmla="*/ 2147483646 w 241"/>
              <a:gd name="T47" fmla="*/ 2147483646 h 383"/>
              <a:gd name="T48" fmla="*/ 2147483646 w 241"/>
              <a:gd name="T49" fmla="*/ 2147483646 h 383"/>
              <a:gd name="T50" fmla="*/ 2147483646 w 241"/>
              <a:gd name="T51" fmla="*/ 2147483646 h 383"/>
              <a:gd name="T52" fmla="*/ 2147483646 w 241"/>
              <a:gd name="T53" fmla="*/ 2147483646 h 383"/>
              <a:gd name="T54" fmla="*/ 2147483646 w 241"/>
              <a:gd name="T55" fmla="*/ 2147483646 h 383"/>
              <a:gd name="T56" fmla="*/ 2147483646 w 241"/>
              <a:gd name="T57" fmla="*/ 2147483646 h 383"/>
              <a:gd name="T58" fmla="*/ 2147483646 w 241"/>
              <a:gd name="T59" fmla="*/ 2147483646 h 383"/>
              <a:gd name="T60" fmla="*/ 2147483646 w 241"/>
              <a:gd name="T61" fmla="*/ 2147483646 h 383"/>
              <a:gd name="T62" fmla="*/ 2147483646 w 241"/>
              <a:gd name="T63" fmla="*/ 2147483646 h 383"/>
              <a:gd name="T64" fmla="*/ 2147483646 w 241"/>
              <a:gd name="T65" fmla="*/ 2147483646 h 383"/>
              <a:gd name="T66" fmla="*/ 2147483646 w 241"/>
              <a:gd name="T67" fmla="*/ 2147483646 h 383"/>
              <a:gd name="T68" fmla="*/ 2147483646 w 241"/>
              <a:gd name="T69" fmla="*/ 2147483646 h 383"/>
              <a:gd name="T70" fmla="*/ 2147483646 w 241"/>
              <a:gd name="T71" fmla="*/ 2147483646 h 383"/>
              <a:gd name="T72" fmla="*/ 2147483646 w 241"/>
              <a:gd name="T73" fmla="*/ 2147483646 h 383"/>
              <a:gd name="T74" fmla="*/ 2147483646 w 241"/>
              <a:gd name="T75" fmla="*/ 2147483646 h 383"/>
              <a:gd name="T76" fmla="*/ 2147483646 w 241"/>
              <a:gd name="T77" fmla="*/ 2147483646 h 383"/>
              <a:gd name="T78" fmla="*/ 2147483646 w 241"/>
              <a:gd name="T79" fmla="*/ 2147483646 h 383"/>
              <a:gd name="T80" fmla="*/ 2147483646 w 241"/>
              <a:gd name="T81" fmla="*/ 2147483646 h 383"/>
              <a:gd name="T82" fmla="*/ 2147483646 w 241"/>
              <a:gd name="T83" fmla="*/ 2147483646 h 383"/>
              <a:gd name="T84" fmla="*/ 2147483646 w 241"/>
              <a:gd name="T85" fmla="*/ 2147483646 h 383"/>
              <a:gd name="T86" fmla="*/ 2147483646 w 241"/>
              <a:gd name="T87" fmla="*/ 2147483646 h 383"/>
              <a:gd name="T88" fmla="*/ 2147483646 w 241"/>
              <a:gd name="T89" fmla="*/ 2147483646 h 38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241" h="383">
                <a:moveTo>
                  <a:pt x="117" y="356"/>
                </a:moveTo>
                <a:cubicBezTo>
                  <a:pt x="127" y="356"/>
                  <a:pt x="135" y="348"/>
                  <a:pt x="135" y="338"/>
                </a:cubicBezTo>
                <a:cubicBezTo>
                  <a:pt x="135" y="329"/>
                  <a:pt x="127" y="321"/>
                  <a:pt x="117" y="321"/>
                </a:cubicBezTo>
                <a:cubicBezTo>
                  <a:pt x="107" y="321"/>
                  <a:pt x="99" y="329"/>
                  <a:pt x="99" y="338"/>
                </a:cubicBezTo>
                <a:cubicBezTo>
                  <a:pt x="99" y="348"/>
                  <a:pt x="107" y="356"/>
                  <a:pt x="117" y="356"/>
                </a:cubicBezTo>
                <a:close/>
                <a:moveTo>
                  <a:pt x="233" y="90"/>
                </a:moveTo>
                <a:cubicBezTo>
                  <a:pt x="237" y="90"/>
                  <a:pt x="241" y="87"/>
                  <a:pt x="241" y="82"/>
                </a:cubicBezTo>
                <a:cubicBezTo>
                  <a:pt x="241" y="19"/>
                  <a:pt x="241" y="19"/>
                  <a:pt x="241" y="19"/>
                </a:cubicBezTo>
                <a:cubicBezTo>
                  <a:pt x="241" y="8"/>
                  <a:pt x="232" y="0"/>
                  <a:pt x="221" y="0"/>
                </a:cubicBezTo>
                <a:cubicBezTo>
                  <a:pt x="19" y="0"/>
                  <a:pt x="19" y="0"/>
                  <a:pt x="19" y="0"/>
                </a:cubicBezTo>
                <a:cubicBezTo>
                  <a:pt x="8" y="0"/>
                  <a:pt x="0" y="8"/>
                  <a:pt x="0" y="19"/>
                </a:cubicBezTo>
                <a:cubicBezTo>
                  <a:pt x="0" y="364"/>
                  <a:pt x="0" y="364"/>
                  <a:pt x="0" y="364"/>
                </a:cubicBezTo>
                <a:cubicBezTo>
                  <a:pt x="0" y="375"/>
                  <a:pt x="8" y="383"/>
                  <a:pt x="19" y="383"/>
                </a:cubicBezTo>
                <a:cubicBezTo>
                  <a:pt x="221" y="383"/>
                  <a:pt x="221" y="383"/>
                  <a:pt x="221" y="383"/>
                </a:cubicBezTo>
                <a:cubicBezTo>
                  <a:pt x="232" y="383"/>
                  <a:pt x="241" y="375"/>
                  <a:pt x="241" y="364"/>
                </a:cubicBezTo>
                <a:cubicBezTo>
                  <a:pt x="241" y="114"/>
                  <a:pt x="241" y="114"/>
                  <a:pt x="241" y="114"/>
                </a:cubicBezTo>
                <a:cubicBezTo>
                  <a:pt x="241" y="110"/>
                  <a:pt x="237" y="106"/>
                  <a:pt x="233" y="106"/>
                </a:cubicBezTo>
                <a:cubicBezTo>
                  <a:pt x="228" y="106"/>
                  <a:pt x="225" y="110"/>
                  <a:pt x="225" y="114"/>
                </a:cubicBezTo>
                <a:cubicBezTo>
                  <a:pt x="225" y="295"/>
                  <a:pt x="225" y="295"/>
                  <a:pt x="225" y="295"/>
                </a:cubicBezTo>
                <a:cubicBezTo>
                  <a:pt x="16" y="295"/>
                  <a:pt x="16" y="295"/>
                  <a:pt x="16" y="295"/>
                </a:cubicBezTo>
                <a:cubicBezTo>
                  <a:pt x="16" y="69"/>
                  <a:pt x="16" y="69"/>
                  <a:pt x="16" y="69"/>
                </a:cubicBezTo>
                <a:cubicBezTo>
                  <a:pt x="225" y="69"/>
                  <a:pt x="225" y="69"/>
                  <a:pt x="225" y="69"/>
                </a:cubicBezTo>
                <a:cubicBezTo>
                  <a:pt x="225" y="82"/>
                  <a:pt x="225" y="82"/>
                  <a:pt x="225" y="82"/>
                </a:cubicBezTo>
                <a:cubicBezTo>
                  <a:pt x="225" y="87"/>
                  <a:pt x="228" y="90"/>
                  <a:pt x="233" y="90"/>
                </a:cubicBezTo>
                <a:close/>
                <a:moveTo>
                  <a:pt x="225" y="311"/>
                </a:moveTo>
                <a:cubicBezTo>
                  <a:pt x="225" y="364"/>
                  <a:pt x="225" y="364"/>
                  <a:pt x="225" y="364"/>
                </a:cubicBezTo>
                <a:cubicBezTo>
                  <a:pt x="225" y="366"/>
                  <a:pt x="223" y="367"/>
                  <a:pt x="221" y="367"/>
                </a:cubicBezTo>
                <a:cubicBezTo>
                  <a:pt x="19" y="367"/>
                  <a:pt x="19" y="367"/>
                  <a:pt x="19" y="367"/>
                </a:cubicBezTo>
                <a:cubicBezTo>
                  <a:pt x="17" y="367"/>
                  <a:pt x="16" y="366"/>
                  <a:pt x="16" y="364"/>
                </a:cubicBezTo>
                <a:cubicBezTo>
                  <a:pt x="16" y="311"/>
                  <a:pt x="16" y="311"/>
                  <a:pt x="16" y="311"/>
                </a:cubicBezTo>
                <a:lnTo>
                  <a:pt x="225" y="311"/>
                </a:lnTo>
                <a:close/>
                <a:moveTo>
                  <a:pt x="16" y="53"/>
                </a:moveTo>
                <a:cubicBezTo>
                  <a:pt x="16" y="19"/>
                  <a:pt x="16" y="19"/>
                  <a:pt x="16" y="19"/>
                </a:cubicBezTo>
                <a:cubicBezTo>
                  <a:pt x="16" y="17"/>
                  <a:pt x="17" y="16"/>
                  <a:pt x="19" y="16"/>
                </a:cubicBezTo>
                <a:cubicBezTo>
                  <a:pt x="221" y="16"/>
                  <a:pt x="221" y="16"/>
                  <a:pt x="221" y="16"/>
                </a:cubicBezTo>
                <a:cubicBezTo>
                  <a:pt x="223" y="16"/>
                  <a:pt x="225" y="17"/>
                  <a:pt x="225" y="19"/>
                </a:cubicBezTo>
                <a:cubicBezTo>
                  <a:pt x="225" y="53"/>
                  <a:pt x="225" y="53"/>
                  <a:pt x="225" y="53"/>
                </a:cubicBezTo>
                <a:lnTo>
                  <a:pt x="16" y="53"/>
                </a:lnTo>
                <a:close/>
                <a:moveTo>
                  <a:pt x="135" y="26"/>
                </a:moveTo>
                <a:cubicBezTo>
                  <a:pt x="99" y="26"/>
                  <a:pt x="99" y="26"/>
                  <a:pt x="99" y="26"/>
                </a:cubicBezTo>
                <a:cubicBezTo>
                  <a:pt x="95" y="26"/>
                  <a:pt x="91" y="30"/>
                  <a:pt x="91" y="34"/>
                </a:cubicBezTo>
                <a:cubicBezTo>
                  <a:pt x="91" y="38"/>
                  <a:pt x="95" y="42"/>
                  <a:pt x="99" y="42"/>
                </a:cubicBezTo>
                <a:cubicBezTo>
                  <a:pt x="135" y="42"/>
                  <a:pt x="135" y="42"/>
                  <a:pt x="135" y="42"/>
                </a:cubicBezTo>
                <a:cubicBezTo>
                  <a:pt x="139" y="42"/>
                  <a:pt x="143" y="38"/>
                  <a:pt x="143" y="34"/>
                </a:cubicBezTo>
                <a:cubicBezTo>
                  <a:pt x="143" y="30"/>
                  <a:pt x="139" y="26"/>
                  <a:pt x="135" y="26"/>
                </a:cubicBezTo>
                <a:close/>
              </a:path>
            </a:pathLst>
          </a:custGeom>
          <a:solidFill>
            <a:srgbClr val="433D3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0" name="Freeform 88"/>
          <p:cNvSpPr>
            <a:spLocks/>
          </p:cNvSpPr>
          <p:nvPr/>
        </p:nvSpPr>
        <p:spPr bwMode="auto">
          <a:xfrm rot="3464770" flipH="1">
            <a:off x="1570060" y="5432776"/>
            <a:ext cx="595575" cy="444850"/>
          </a:xfrm>
          <a:custGeom>
            <a:avLst/>
            <a:gdLst>
              <a:gd name="T0" fmla="*/ 0 w 902524"/>
              <a:gd name="T1" fmla="*/ 0 h 356260"/>
              <a:gd name="T2" fmla="*/ 514582 w 902524"/>
              <a:gd name="T3" fmla="*/ 413565 h 356260"/>
              <a:gd name="T4" fmla="*/ 456107 w 902524"/>
              <a:gd name="T5" fmla="*/ 132338 h 356260"/>
              <a:gd name="T6" fmla="*/ 888824 w 902524"/>
              <a:gd name="T7" fmla="*/ 496273 h 356260"/>
              <a:gd name="T8" fmla="*/ 888824 w 902524"/>
              <a:gd name="T9" fmla="*/ 496273 h 3562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02524" h="356260">
                <a:moveTo>
                  <a:pt x="0" y="0"/>
                </a:moveTo>
                <a:lnTo>
                  <a:pt x="522514" y="296883"/>
                </a:lnTo>
                <a:lnTo>
                  <a:pt x="463137" y="95003"/>
                </a:lnTo>
                <a:lnTo>
                  <a:pt x="902524" y="356260"/>
                </a:lnTo>
              </a:path>
            </a:pathLst>
          </a:custGeom>
          <a:noFill/>
          <a:ln w="50800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71992" tIns="45715" rIns="71992" bIns="45715"/>
          <a:lstStyle/>
          <a:p>
            <a:pPr>
              <a:spcBef>
                <a:spcPct val="50000"/>
              </a:spcBef>
              <a:defRPr/>
            </a:pPr>
            <a:endParaRPr lang="en-US" sz="1050" b="1" dirty="0"/>
          </a:p>
        </p:txBody>
      </p:sp>
      <p:sp>
        <p:nvSpPr>
          <p:cNvPr id="25607" name="Text Box 144"/>
          <p:cNvSpPr txBox="1">
            <a:spLocks noChangeAspect="1" noChangeArrowheads="1"/>
          </p:cNvSpPr>
          <p:nvPr/>
        </p:nvSpPr>
        <p:spPr bwMode="auto">
          <a:xfrm>
            <a:off x="506215" y="5765532"/>
            <a:ext cx="9921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dirty="0"/>
              <a:t>NG UE</a:t>
            </a:r>
          </a:p>
        </p:txBody>
      </p:sp>
      <p:sp>
        <p:nvSpPr>
          <p:cNvPr id="25608" name="Text Box 144"/>
          <p:cNvSpPr txBox="1">
            <a:spLocks noChangeAspect="1" noChangeArrowheads="1"/>
          </p:cNvSpPr>
          <p:nvPr/>
        </p:nvSpPr>
        <p:spPr bwMode="auto">
          <a:xfrm>
            <a:off x="5686100" y="4547431"/>
            <a:ext cx="992188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/>
              <a:t>N2</a:t>
            </a:r>
          </a:p>
        </p:txBody>
      </p:sp>
      <p:sp>
        <p:nvSpPr>
          <p:cNvPr id="25609" name="Text Box 144"/>
          <p:cNvSpPr txBox="1">
            <a:spLocks noChangeAspect="1" noChangeArrowheads="1"/>
          </p:cNvSpPr>
          <p:nvPr/>
        </p:nvSpPr>
        <p:spPr bwMode="auto">
          <a:xfrm>
            <a:off x="6178923" y="5894713"/>
            <a:ext cx="992187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/>
              <a:t>N3</a:t>
            </a:r>
          </a:p>
        </p:txBody>
      </p:sp>
      <p:sp>
        <p:nvSpPr>
          <p:cNvPr id="25610" name="Text Box 144"/>
          <p:cNvSpPr txBox="1">
            <a:spLocks noChangeAspect="1" noChangeArrowheads="1"/>
          </p:cNvSpPr>
          <p:nvPr/>
        </p:nvSpPr>
        <p:spPr bwMode="auto">
          <a:xfrm>
            <a:off x="8237807" y="5894713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/>
              <a:t>N6</a:t>
            </a:r>
          </a:p>
        </p:txBody>
      </p:sp>
      <p:sp>
        <p:nvSpPr>
          <p:cNvPr id="25613" name="Text Box 144"/>
          <p:cNvSpPr txBox="1">
            <a:spLocks noChangeAspect="1" noChangeArrowheads="1"/>
          </p:cNvSpPr>
          <p:nvPr/>
        </p:nvSpPr>
        <p:spPr bwMode="auto">
          <a:xfrm>
            <a:off x="7780070" y="4954489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/>
              <a:t>N4</a:t>
            </a:r>
          </a:p>
        </p:txBody>
      </p:sp>
      <p:grpSp>
        <p:nvGrpSpPr>
          <p:cNvPr id="25614" name="Group 88"/>
          <p:cNvGrpSpPr>
            <a:grpSpLocks/>
          </p:cNvGrpSpPr>
          <p:nvPr/>
        </p:nvGrpSpPr>
        <p:grpSpPr bwMode="auto">
          <a:xfrm>
            <a:off x="2411328" y="5638249"/>
            <a:ext cx="652292" cy="855675"/>
            <a:chOff x="936376" y="2900085"/>
            <a:chExt cx="864096" cy="1240668"/>
          </a:xfrm>
        </p:grpSpPr>
        <p:sp>
          <p:nvSpPr>
            <p:cNvPr id="25687" name="AutoShape 220"/>
            <p:cNvSpPr>
              <a:spLocks noChangeAspect="1" noChangeArrowheads="1"/>
            </p:cNvSpPr>
            <p:nvPr/>
          </p:nvSpPr>
          <p:spPr bwMode="auto">
            <a:xfrm>
              <a:off x="953039" y="3253198"/>
              <a:ext cx="833150" cy="873239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000">
                <a:solidFill>
                  <a:srgbClr val="58585A"/>
                </a:solidFill>
              </a:endParaRPr>
            </a:p>
          </p:txBody>
        </p:sp>
        <p:sp>
          <p:nvSpPr>
            <p:cNvPr id="25688" name="Oval 221"/>
            <p:cNvSpPr>
              <a:spLocks noChangeAspect="1" noChangeArrowheads="1"/>
            </p:cNvSpPr>
            <p:nvPr/>
          </p:nvSpPr>
          <p:spPr bwMode="auto">
            <a:xfrm>
              <a:off x="948278" y="2916785"/>
              <a:ext cx="837911" cy="846995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000">
                <a:solidFill>
                  <a:srgbClr val="58585A"/>
                </a:solidFill>
              </a:endParaRPr>
            </a:p>
          </p:txBody>
        </p:sp>
        <p:sp>
          <p:nvSpPr>
            <p:cNvPr id="25689" name="Text Box 222"/>
            <p:cNvSpPr txBox="1">
              <a:spLocks noChangeAspect="1" noChangeArrowheads="1"/>
            </p:cNvSpPr>
            <p:nvPr/>
          </p:nvSpPr>
          <p:spPr bwMode="auto">
            <a:xfrm>
              <a:off x="976843" y="3575295"/>
              <a:ext cx="778401" cy="5368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>
                  <a:ea typeface="Segoe UI" panose="020B0502040204020203" pitchFamily="34" charset="0"/>
                  <a:cs typeface="Arial" panose="020B0604020202020204" pitchFamily="34" charset="0"/>
                </a:rPr>
                <a:t>RF/BF</a:t>
              </a:r>
            </a:p>
          </p:txBody>
        </p:sp>
        <p:sp>
          <p:nvSpPr>
            <p:cNvPr id="25690" name="Rectangle 223"/>
            <p:cNvSpPr>
              <a:spLocks noChangeAspect="1" noChangeArrowheads="1"/>
            </p:cNvSpPr>
            <p:nvPr/>
          </p:nvSpPr>
          <p:spPr bwMode="auto">
            <a:xfrm>
              <a:off x="936376" y="2900085"/>
              <a:ext cx="864096" cy="1240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000">
                <a:solidFill>
                  <a:srgbClr val="58585A"/>
                </a:solidFill>
              </a:endParaRPr>
            </a:p>
          </p:txBody>
        </p:sp>
        <p:sp>
          <p:nvSpPr>
            <p:cNvPr id="25691" name="Freeform 11"/>
            <p:cNvSpPr>
              <a:spLocks noChangeAspect="1" noEditPoints="1"/>
            </p:cNvSpPr>
            <p:nvPr/>
          </p:nvSpPr>
          <p:spPr bwMode="auto">
            <a:xfrm>
              <a:off x="936376" y="2900085"/>
              <a:ext cx="864096" cy="1240668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0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2147483646 h 589"/>
                <a:gd name="T26" fmla="*/ 2147483646 w 410"/>
                <a:gd name="T27" fmla="*/ 2147483646 h 589"/>
                <a:gd name="T28" fmla="*/ 2147483646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2147483646 w 410"/>
                <a:gd name="T71" fmla="*/ 2147483646 h 589"/>
                <a:gd name="T72" fmla="*/ 2147483646 w 410"/>
                <a:gd name="T73" fmla="*/ 2147483646 h 589"/>
                <a:gd name="T74" fmla="*/ 2147483646 w 410"/>
                <a:gd name="T75" fmla="*/ 2147483646 h 589"/>
                <a:gd name="T76" fmla="*/ 2147483646 w 410"/>
                <a:gd name="T77" fmla="*/ 2147483646 h 589"/>
                <a:gd name="T78" fmla="*/ 2147483646 w 410"/>
                <a:gd name="T79" fmla="*/ 2147483646 h 589"/>
                <a:gd name="T80" fmla="*/ 2147483646 w 410"/>
                <a:gd name="T81" fmla="*/ 2147483646 h 589"/>
                <a:gd name="T82" fmla="*/ 2147483646 w 410"/>
                <a:gd name="T83" fmla="*/ 2147483646 h 589"/>
                <a:gd name="T84" fmla="*/ 2147483646 w 410"/>
                <a:gd name="T85" fmla="*/ 2147483646 h 589"/>
                <a:gd name="T86" fmla="*/ 2147483646 w 410"/>
                <a:gd name="T87" fmla="*/ 2147483646 h 589"/>
                <a:gd name="T88" fmla="*/ 2147483646 w 410"/>
                <a:gd name="T89" fmla="*/ 2147483646 h 589"/>
                <a:gd name="T90" fmla="*/ 2147483646 w 410"/>
                <a:gd name="T91" fmla="*/ 2147483646 h 589"/>
                <a:gd name="T92" fmla="*/ 2147483646 w 410"/>
                <a:gd name="T93" fmla="*/ 2147483646 h 589"/>
                <a:gd name="T94" fmla="*/ 2147483646 w 410"/>
                <a:gd name="T95" fmla="*/ 2147483646 h 589"/>
                <a:gd name="T96" fmla="*/ 2147483646 w 410"/>
                <a:gd name="T97" fmla="*/ 2147483646 h 589"/>
                <a:gd name="T98" fmla="*/ 2147483646 w 410"/>
                <a:gd name="T99" fmla="*/ 2147483646 h 589"/>
                <a:gd name="T100" fmla="*/ 2147483646 w 410"/>
                <a:gd name="T101" fmla="*/ 2147483646 h 5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10"/>
                <a:gd name="T154" fmla="*/ 0 h 589"/>
                <a:gd name="T155" fmla="*/ 410 w 410"/>
                <a:gd name="T156" fmla="*/ 589 h 5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304" y="289"/>
                  </a:moveTo>
                  <a:cubicBezTo>
                    <a:pt x="258" y="246"/>
                    <a:pt x="232" y="204"/>
                    <a:pt x="221" y="181"/>
                  </a:cubicBezTo>
                  <a:cubicBezTo>
                    <a:pt x="239" y="174"/>
                    <a:pt x="252" y="157"/>
                    <a:pt x="252" y="137"/>
                  </a:cubicBezTo>
                  <a:cubicBezTo>
                    <a:pt x="252" y="131"/>
                    <a:pt x="251" y="125"/>
                    <a:pt x="248" y="119"/>
                  </a:cubicBezTo>
                  <a:cubicBezTo>
                    <a:pt x="247" y="115"/>
                    <a:pt x="242" y="113"/>
                    <a:pt x="238" y="115"/>
                  </a:cubicBezTo>
                  <a:cubicBezTo>
                    <a:pt x="234" y="116"/>
                    <a:pt x="232" y="121"/>
                    <a:pt x="234" y="125"/>
                  </a:cubicBezTo>
                  <a:cubicBezTo>
                    <a:pt x="235" y="129"/>
                    <a:pt x="236" y="133"/>
                    <a:pt x="236" y="137"/>
                  </a:cubicBezTo>
                  <a:cubicBezTo>
                    <a:pt x="236" y="154"/>
                    <a:pt x="222" y="168"/>
                    <a:pt x="204" y="168"/>
                  </a:cubicBezTo>
                  <a:cubicBezTo>
                    <a:pt x="187" y="168"/>
                    <a:pt x="173" y="154"/>
                    <a:pt x="173" y="137"/>
                  </a:cubicBezTo>
                  <a:cubicBezTo>
                    <a:pt x="173" y="119"/>
                    <a:pt x="187" y="105"/>
                    <a:pt x="204" y="105"/>
                  </a:cubicBezTo>
                  <a:cubicBezTo>
                    <a:pt x="208" y="105"/>
                    <a:pt x="212" y="106"/>
                    <a:pt x="216" y="107"/>
                  </a:cubicBezTo>
                  <a:cubicBezTo>
                    <a:pt x="220" y="109"/>
                    <a:pt x="224" y="107"/>
                    <a:pt x="226" y="103"/>
                  </a:cubicBezTo>
                  <a:cubicBezTo>
                    <a:pt x="228" y="99"/>
                    <a:pt x="226" y="94"/>
                    <a:pt x="221" y="93"/>
                  </a:cubicBezTo>
                  <a:cubicBezTo>
                    <a:pt x="216" y="90"/>
                    <a:pt x="210" y="89"/>
                    <a:pt x="204" y="89"/>
                  </a:cubicBezTo>
                  <a:cubicBezTo>
                    <a:pt x="178" y="89"/>
                    <a:pt x="157" y="111"/>
                    <a:pt x="157" y="137"/>
                  </a:cubicBezTo>
                  <a:cubicBezTo>
                    <a:pt x="157" y="157"/>
                    <a:pt x="171" y="175"/>
                    <a:pt x="189" y="181"/>
                  </a:cubicBezTo>
                  <a:cubicBezTo>
                    <a:pt x="178" y="204"/>
                    <a:pt x="152" y="247"/>
                    <a:pt x="106" y="289"/>
                  </a:cubicBezTo>
                  <a:cubicBezTo>
                    <a:pt x="104" y="291"/>
                    <a:pt x="103" y="295"/>
                    <a:pt x="104" y="298"/>
                  </a:cubicBezTo>
                  <a:cubicBezTo>
                    <a:pt x="105" y="301"/>
                    <a:pt x="108" y="303"/>
                    <a:pt x="112" y="303"/>
                  </a:cubicBezTo>
                  <a:cubicBezTo>
                    <a:pt x="164" y="303"/>
                    <a:pt x="164" y="303"/>
                    <a:pt x="164" y="303"/>
                  </a:cubicBezTo>
                  <a:cubicBezTo>
                    <a:pt x="167" y="303"/>
                    <a:pt x="170" y="301"/>
                    <a:pt x="171" y="298"/>
                  </a:cubicBezTo>
                  <a:cubicBezTo>
                    <a:pt x="172" y="297"/>
                    <a:pt x="180" y="276"/>
                    <a:pt x="205" y="276"/>
                  </a:cubicBezTo>
                  <a:cubicBezTo>
                    <a:pt x="230" y="276"/>
                    <a:pt x="239" y="297"/>
                    <a:pt x="239" y="298"/>
                  </a:cubicBezTo>
                  <a:cubicBezTo>
                    <a:pt x="240" y="301"/>
                    <a:pt x="243" y="303"/>
                    <a:pt x="246" y="303"/>
                  </a:cubicBezTo>
                  <a:cubicBezTo>
                    <a:pt x="299" y="303"/>
                    <a:pt x="299" y="303"/>
                    <a:pt x="299" y="303"/>
                  </a:cubicBezTo>
                  <a:cubicBezTo>
                    <a:pt x="302" y="303"/>
                    <a:pt x="305" y="301"/>
                    <a:pt x="306" y="298"/>
                  </a:cubicBezTo>
                  <a:cubicBezTo>
                    <a:pt x="307" y="295"/>
                    <a:pt x="306" y="291"/>
                    <a:pt x="304" y="289"/>
                  </a:cubicBezTo>
                  <a:moveTo>
                    <a:pt x="204" y="186"/>
                  </a:moveTo>
                  <a:cubicBezTo>
                    <a:pt x="209" y="195"/>
                    <a:pt x="216" y="208"/>
                    <a:pt x="226" y="223"/>
                  </a:cubicBezTo>
                  <a:cubicBezTo>
                    <a:pt x="220" y="222"/>
                    <a:pt x="212" y="221"/>
                    <a:pt x="204" y="221"/>
                  </a:cubicBezTo>
                  <a:cubicBezTo>
                    <a:pt x="196" y="221"/>
                    <a:pt x="189" y="222"/>
                    <a:pt x="182" y="223"/>
                  </a:cubicBezTo>
                  <a:cubicBezTo>
                    <a:pt x="193" y="208"/>
                    <a:pt x="200" y="195"/>
                    <a:pt x="204" y="186"/>
                  </a:cubicBezTo>
                  <a:moveTo>
                    <a:pt x="251" y="287"/>
                  </a:moveTo>
                  <a:cubicBezTo>
                    <a:pt x="246" y="278"/>
                    <a:pt x="232" y="260"/>
                    <a:pt x="204" y="260"/>
                  </a:cubicBezTo>
                  <a:cubicBezTo>
                    <a:pt x="177" y="260"/>
                    <a:pt x="163" y="278"/>
                    <a:pt x="158" y="287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45" y="273"/>
                    <a:pt x="156" y="259"/>
                    <a:pt x="166" y="246"/>
                  </a:cubicBezTo>
                  <a:cubicBezTo>
                    <a:pt x="171" y="244"/>
                    <a:pt x="186" y="237"/>
                    <a:pt x="204" y="237"/>
                  </a:cubicBezTo>
                  <a:cubicBezTo>
                    <a:pt x="223" y="237"/>
                    <a:pt x="238" y="244"/>
                    <a:pt x="243" y="246"/>
                  </a:cubicBezTo>
                  <a:cubicBezTo>
                    <a:pt x="253" y="259"/>
                    <a:pt x="264" y="273"/>
                    <a:pt x="278" y="287"/>
                  </a:cubicBezTo>
                  <a:lnTo>
                    <a:pt x="251" y="287"/>
                  </a:lnTo>
                  <a:close/>
                  <a:moveTo>
                    <a:pt x="266" y="185"/>
                  </a:moveTo>
                  <a:cubicBezTo>
                    <a:pt x="265" y="185"/>
                    <a:pt x="263" y="184"/>
                    <a:pt x="262" y="183"/>
                  </a:cubicBezTo>
                  <a:cubicBezTo>
                    <a:pt x="258" y="181"/>
                    <a:pt x="257" y="176"/>
                    <a:pt x="260" y="172"/>
                  </a:cubicBezTo>
                  <a:cubicBezTo>
                    <a:pt x="267" y="162"/>
                    <a:pt x="270" y="149"/>
                    <a:pt x="270" y="137"/>
                  </a:cubicBezTo>
                  <a:cubicBezTo>
                    <a:pt x="270" y="124"/>
                    <a:pt x="267" y="112"/>
                    <a:pt x="260" y="101"/>
                  </a:cubicBezTo>
                  <a:cubicBezTo>
                    <a:pt x="257" y="97"/>
                    <a:pt x="258" y="92"/>
                    <a:pt x="262" y="90"/>
                  </a:cubicBezTo>
                  <a:cubicBezTo>
                    <a:pt x="266" y="88"/>
                    <a:pt x="271" y="89"/>
                    <a:pt x="273" y="92"/>
                  </a:cubicBezTo>
                  <a:cubicBezTo>
                    <a:pt x="282" y="105"/>
                    <a:pt x="286" y="121"/>
                    <a:pt x="286" y="137"/>
                  </a:cubicBezTo>
                  <a:cubicBezTo>
                    <a:pt x="286" y="153"/>
                    <a:pt x="282" y="168"/>
                    <a:pt x="273" y="181"/>
                  </a:cubicBezTo>
                  <a:cubicBezTo>
                    <a:pt x="272" y="183"/>
                    <a:pt x="269" y="185"/>
                    <a:pt x="266" y="185"/>
                  </a:cubicBezTo>
                  <a:moveTo>
                    <a:pt x="295" y="203"/>
                  </a:moveTo>
                  <a:cubicBezTo>
                    <a:pt x="293" y="203"/>
                    <a:pt x="292" y="203"/>
                    <a:pt x="290" y="202"/>
                  </a:cubicBezTo>
                  <a:cubicBezTo>
                    <a:pt x="287" y="199"/>
                    <a:pt x="286" y="194"/>
                    <a:pt x="288" y="191"/>
                  </a:cubicBezTo>
                  <a:cubicBezTo>
                    <a:pt x="299" y="175"/>
                    <a:pt x="304" y="156"/>
                    <a:pt x="304" y="137"/>
                  </a:cubicBezTo>
                  <a:cubicBezTo>
                    <a:pt x="304" y="117"/>
                    <a:pt x="299" y="99"/>
                    <a:pt x="288" y="83"/>
                  </a:cubicBezTo>
                  <a:cubicBezTo>
                    <a:pt x="286" y="79"/>
                    <a:pt x="287" y="74"/>
                    <a:pt x="290" y="72"/>
                  </a:cubicBezTo>
                  <a:cubicBezTo>
                    <a:pt x="294" y="69"/>
                    <a:pt x="299" y="70"/>
                    <a:pt x="301" y="74"/>
                  </a:cubicBezTo>
                  <a:cubicBezTo>
                    <a:pt x="314" y="93"/>
                    <a:pt x="320" y="114"/>
                    <a:pt x="320" y="137"/>
                  </a:cubicBezTo>
                  <a:cubicBezTo>
                    <a:pt x="320" y="159"/>
                    <a:pt x="314" y="181"/>
                    <a:pt x="301" y="199"/>
                  </a:cubicBezTo>
                  <a:cubicBezTo>
                    <a:pt x="300" y="202"/>
                    <a:pt x="297" y="203"/>
                    <a:pt x="295" y="203"/>
                  </a:cubicBezTo>
                  <a:moveTo>
                    <a:pt x="144" y="185"/>
                  </a:moveTo>
                  <a:cubicBezTo>
                    <a:pt x="145" y="185"/>
                    <a:pt x="147" y="184"/>
                    <a:pt x="148" y="183"/>
                  </a:cubicBezTo>
                  <a:cubicBezTo>
                    <a:pt x="152" y="181"/>
                    <a:pt x="153" y="176"/>
                    <a:pt x="150" y="172"/>
                  </a:cubicBezTo>
                  <a:cubicBezTo>
                    <a:pt x="144" y="162"/>
                    <a:pt x="140" y="149"/>
                    <a:pt x="140" y="137"/>
                  </a:cubicBezTo>
                  <a:cubicBezTo>
                    <a:pt x="140" y="124"/>
                    <a:pt x="144" y="112"/>
                    <a:pt x="150" y="101"/>
                  </a:cubicBezTo>
                  <a:cubicBezTo>
                    <a:pt x="153" y="97"/>
                    <a:pt x="152" y="92"/>
                    <a:pt x="148" y="90"/>
                  </a:cubicBezTo>
                  <a:cubicBezTo>
                    <a:pt x="144" y="88"/>
                    <a:pt x="140" y="89"/>
                    <a:pt x="137" y="92"/>
                  </a:cubicBezTo>
                  <a:cubicBezTo>
                    <a:pt x="128" y="105"/>
                    <a:pt x="124" y="121"/>
                    <a:pt x="124" y="137"/>
                  </a:cubicBezTo>
                  <a:cubicBezTo>
                    <a:pt x="124" y="153"/>
                    <a:pt x="128" y="168"/>
                    <a:pt x="137" y="181"/>
                  </a:cubicBezTo>
                  <a:cubicBezTo>
                    <a:pt x="139" y="183"/>
                    <a:pt x="141" y="185"/>
                    <a:pt x="144" y="185"/>
                  </a:cubicBezTo>
                  <a:moveTo>
                    <a:pt x="115" y="203"/>
                  </a:moveTo>
                  <a:cubicBezTo>
                    <a:pt x="117" y="203"/>
                    <a:pt x="119" y="203"/>
                    <a:pt x="120" y="202"/>
                  </a:cubicBezTo>
                  <a:cubicBezTo>
                    <a:pt x="124" y="199"/>
                    <a:pt x="125" y="194"/>
                    <a:pt x="122" y="191"/>
                  </a:cubicBezTo>
                  <a:cubicBezTo>
                    <a:pt x="112" y="175"/>
                    <a:pt x="106" y="156"/>
                    <a:pt x="106" y="137"/>
                  </a:cubicBezTo>
                  <a:cubicBezTo>
                    <a:pt x="106" y="117"/>
                    <a:pt x="112" y="99"/>
                    <a:pt x="122" y="83"/>
                  </a:cubicBezTo>
                  <a:cubicBezTo>
                    <a:pt x="125" y="79"/>
                    <a:pt x="124" y="74"/>
                    <a:pt x="120" y="72"/>
                  </a:cubicBezTo>
                  <a:cubicBezTo>
                    <a:pt x="116" y="69"/>
                    <a:pt x="111" y="70"/>
                    <a:pt x="109" y="74"/>
                  </a:cubicBezTo>
                  <a:cubicBezTo>
                    <a:pt x="97" y="93"/>
                    <a:pt x="90" y="114"/>
                    <a:pt x="90" y="137"/>
                  </a:cubicBezTo>
                  <a:cubicBezTo>
                    <a:pt x="90" y="159"/>
                    <a:pt x="97" y="181"/>
                    <a:pt x="109" y="199"/>
                  </a:cubicBezTo>
                  <a:cubicBezTo>
                    <a:pt x="110" y="202"/>
                    <a:pt x="113" y="203"/>
                    <a:pt x="115" y="20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sp>
        <p:nvSpPr>
          <p:cNvPr id="98" name="Line 30"/>
          <p:cNvSpPr>
            <a:spLocks noChangeShapeType="1"/>
          </p:cNvSpPr>
          <p:nvPr/>
        </p:nvSpPr>
        <p:spPr bwMode="auto">
          <a:xfrm>
            <a:off x="3067075" y="6102573"/>
            <a:ext cx="6803195" cy="30265"/>
          </a:xfrm>
          <a:prstGeom prst="line">
            <a:avLst/>
          </a:prstGeom>
          <a:noFill/>
          <a:ln w="28575">
            <a:solidFill>
              <a:schemeClr val="accent4">
                <a:lumMod val="50000"/>
              </a:schemeClr>
            </a:solidFill>
            <a:round/>
            <a:headEnd/>
            <a:tailEnd/>
          </a:ln>
        </p:spPr>
        <p:txBody>
          <a:bodyPr lIns="91438" tIns="45719" rIns="91438" bIns="45719"/>
          <a:lstStyle/>
          <a:p>
            <a:pPr>
              <a:defRPr/>
            </a:pPr>
            <a:endParaRPr lang="sv-SE" sz="2400">
              <a:ea typeface="ＭＳ Ｐゴシック" charset="0"/>
              <a:cs typeface="Arial" charset="0"/>
            </a:endParaRPr>
          </a:p>
        </p:txBody>
      </p:sp>
      <p:grpSp>
        <p:nvGrpSpPr>
          <p:cNvPr id="25616" name="Group 98"/>
          <p:cNvGrpSpPr>
            <a:grpSpLocks/>
          </p:cNvGrpSpPr>
          <p:nvPr/>
        </p:nvGrpSpPr>
        <p:grpSpPr bwMode="auto">
          <a:xfrm>
            <a:off x="7688532" y="5633820"/>
            <a:ext cx="662379" cy="872079"/>
            <a:chOff x="5979156" y="5040856"/>
            <a:chExt cx="1101600" cy="1587600"/>
          </a:xfrm>
        </p:grpSpPr>
        <p:cxnSp>
          <p:nvCxnSpPr>
            <p:cNvPr id="100" name="Straight Connector 99"/>
            <p:cNvCxnSpPr/>
            <p:nvPr/>
          </p:nvCxnSpPr>
          <p:spPr bwMode="auto">
            <a:xfrm flipV="1">
              <a:off x="6195156" y="5424140"/>
              <a:ext cx="0" cy="161383"/>
            </a:xfrm>
            <a:prstGeom prst="line">
              <a:avLst/>
            </a:prstGeom>
            <a:noFill/>
            <a:ln w="9525">
              <a:solidFill>
                <a:schemeClr val="accent4">
                  <a:lumMod val="50000"/>
                </a:schemeClr>
              </a:solidFill>
              <a:prstDash val="dash"/>
              <a:round/>
              <a:headEnd/>
              <a:tailEnd/>
            </a:ln>
          </p:spPr>
        </p:cxnSp>
        <p:sp>
          <p:nvSpPr>
            <p:cNvPr id="25682" name="AutoShape 142"/>
            <p:cNvSpPr>
              <a:spLocks noChangeAspect="1" noChangeArrowheads="1"/>
            </p:cNvSpPr>
            <p:nvPr/>
          </p:nvSpPr>
          <p:spPr bwMode="auto">
            <a:xfrm>
              <a:off x="6000399" y="5492711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83" name="Oval 143"/>
            <p:cNvSpPr>
              <a:spLocks noChangeAspect="1" noChangeArrowheads="1"/>
            </p:cNvSpPr>
            <p:nvPr/>
          </p:nvSpPr>
          <p:spPr bwMode="auto">
            <a:xfrm>
              <a:off x="5994330" y="5062228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84" name="Text Box 144"/>
            <p:cNvSpPr txBox="1">
              <a:spLocks noChangeAspect="1" noChangeArrowheads="1"/>
            </p:cNvSpPr>
            <p:nvPr/>
          </p:nvSpPr>
          <p:spPr bwMode="auto">
            <a:xfrm>
              <a:off x="6030746" y="5904877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/>
                <a:t>UPF</a:t>
              </a:r>
            </a:p>
          </p:txBody>
        </p:sp>
        <p:sp>
          <p:nvSpPr>
            <p:cNvPr id="25685" name="Rectangle 145"/>
            <p:cNvSpPr>
              <a:spLocks noChangeAspect="1" noChangeArrowheads="1"/>
            </p:cNvSpPr>
            <p:nvPr/>
          </p:nvSpPr>
          <p:spPr bwMode="auto">
            <a:xfrm>
              <a:off x="5979156" y="5040856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86" name="Freeform 11"/>
            <p:cNvSpPr>
              <a:spLocks noChangeAspect="1" noEditPoints="1"/>
            </p:cNvSpPr>
            <p:nvPr/>
          </p:nvSpPr>
          <p:spPr bwMode="auto">
            <a:xfrm>
              <a:off x="5979156" y="5040856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0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2147483646 h 589"/>
                <a:gd name="T26" fmla="*/ 2147483646 w 410"/>
                <a:gd name="T27" fmla="*/ 2147483646 h 589"/>
                <a:gd name="T28" fmla="*/ 2147483646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2147483646 w 410"/>
                <a:gd name="T71" fmla="*/ 2147483646 h 589"/>
                <a:gd name="T72" fmla="*/ 2147483646 w 410"/>
                <a:gd name="T73" fmla="*/ 2147483646 h 589"/>
                <a:gd name="T74" fmla="*/ 2147483646 w 410"/>
                <a:gd name="T75" fmla="*/ 2147483646 h 589"/>
                <a:gd name="T76" fmla="*/ 2147483646 w 410"/>
                <a:gd name="T77" fmla="*/ 2147483646 h 589"/>
                <a:gd name="T78" fmla="*/ 2147483646 w 410"/>
                <a:gd name="T79" fmla="*/ 2147483646 h 58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10"/>
                <a:gd name="T121" fmla="*/ 0 h 589"/>
                <a:gd name="T122" fmla="*/ 410 w 410"/>
                <a:gd name="T123" fmla="*/ 589 h 58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331" y="160"/>
                  </a:moveTo>
                  <a:cubicBezTo>
                    <a:pt x="300" y="130"/>
                    <a:pt x="300" y="130"/>
                    <a:pt x="300" y="130"/>
                  </a:cubicBezTo>
                  <a:cubicBezTo>
                    <a:pt x="297" y="126"/>
                    <a:pt x="292" y="126"/>
                    <a:pt x="289" y="130"/>
                  </a:cubicBezTo>
                  <a:cubicBezTo>
                    <a:pt x="285" y="133"/>
                    <a:pt x="285" y="138"/>
                    <a:pt x="289" y="141"/>
                  </a:cubicBezTo>
                  <a:cubicBezTo>
                    <a:pt x="306" y="158"/>
                    <a:pt x="306" y="158"/>
                    <a:pt x="306" y="15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7" y="158"/>
                    <a:pt x="154" y="162"/>
                    <a:pt x="154" y="166"/>
                  </a:cubicBezTo>
                  <a:cubicBezTo>
                    <a:pt x="154" y="170"/>
                    <a:pt x="157" y="174"/>
                    <a:pt x="162" y="174"/>
                  </a:cubicBezTo>
                  <a:cubicBezTo>
                    <a:pt x="305" y="174"/>
                    <a:pt x="305" y="174"/>
                    <a:pt x="305" y="174"/>
                  </a:cubicBezTo>
                  <a:cubicBezTo>
                    <a:pt x="289" y="191"/>
                    <a:pt x="289" y="191"/>
                    <a:pt x="289" y="191"/>
                  </a:cubicBezTo>
                  <a:cubicBezTo>
                    <a:pt x="285" y="194"/>
                    <a:pt x="285" y="199"/>
                    <a:pt x="289" y="202"/>
                  </a:cubicBezTo>
                  <a:cubicBezTo>
                    <a:pt x="290" y="204"/>
                    <a:pt x="292" y="205"/>
                    <a:pt x="294" y="205"/>
                  </a:cubicBezTo>
                  <a:cubicBezTo>
                    <a:pt x="296" y="205"/>
                    <a:pt x="298" y="204"/>
                    <a:pt x="300" y="202"/>
                  </a:cubicBezTo>
                  <a:cubicBezTo>
                    <a:pt x="331" y="172"/>
                    <a:pt x="331" y="172"/>
                    <a:pt x="331" y="172"/>
                  </a:cubicBezTo>
                  <a:cubicBezTo>
                    <a:pt x="334" y="168"/>
                    <a:pt x="334" y="163"/>
                    <a:pt x="331" y="160"/>
                  </a:cubicBezTo>
                  <a:moveTo>
                    <a:pt x="80" y="113"/>
                  </a:moveTo>
                  <a:cubicBezTo>
                    <a:pt x="110" y="82"/>
                    <a:pt x="110" y="82"/>
                    <a:pt x="110" y="82"/>
                  </a:cubicBezTo>
                  <a:cubicBezTo>
                    <a:pt x="114" y="79"/>
                    <a:pt x="119" y="79"/>
                    <a:pt x="122" y="82"/>
                  </a:cubicBezTo>
                  <a:cubicBezTo>
                    <a:pt x="125" y="85"/>
                    <a:pt x="125" y="90"/>
                    <a:pt x="122" y="93"/>
                  </a:cubicBezTo>
                  <a:cubicBezTo>
                    <a:pt x="105" y="110"/>
                    <a:pt x="105" y="110"/>
                    <a:pt x="105" y="110"/>
                  </a:cubicBezTo>
                  <a:cubicBezTo>
                    <a:pt x="248" y="110"/>
                    <a:pt x="248" y="110"/>
                    <a:pt x="248" y="110"/>
                  </a:cubicBezTo>
                  <a:cubicBezTo>
                    <a:pt x="253" y="110"/>
                    <a:pt x="256" y="114"/>
                    <a:pt x="256" y="118"/>
                  </a:cubicBezTo>
                  <a:cubicBezTo>
                    <a:pt x="256" y="123"/>
                    <a:pt x="253" y="126"/>
                    <a:pt x="248" y="126"/>
                  </a:cubicBezTo>
                  <a:cubicBezTo>
                    <a:pt x="105" y="126"/>
                    <a:pt x="105" y="126"/>
                    <a:pt x="105" y="126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25" y="146"/>
                    <a:pt x="125" y="151"/>
                    <a:pt x="122" y="155"/>
                  </a:cubicBezTo>
                  <a:cubicBezTo>
                    <a:pt x="120" y="156"/>
                    <a:pt x="118" y="157"/>
                    <a:pt x="116" y="157"/>
                  </a:cubicBezTo>
                  <a:cubicBezTo>
                    <a:pt x="114" y="157"/>
                    <a:pt x="112" y="156"/>
                    <a:pt x="110" y="155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77" y="121"/>
                    <a:pt x="77" y="116"/>
                    <a:pt x="80" y="113"/>
                  </a:cubicBezTo>
                  <a:moveTo>
                    <a:pt x="330" y="259"/>
                  </a:moveTo>
                  <a:cubicBezTo>
                    <a:pt x="300" y="228"/>
                    <a:pt x="300" y="228"/>
                    <a:pt x="300" y="228"/>
                  </a:cubicBezTo>
                  <a:cubicBezTo>
                    <a:pt x="296" y="225"/>
                    <a:pt x="291" y="225"/>
                    <a:pt x="288" y="228"/>
                  </a:cubicBezTo>
                  <a:cubicBezTo>
                    <a:pt x="285" y="231"/>
                    <a:pt x="285" y="236"/>
                    <a:pt x="288" y="239"/>
                  </a:cubicBezTo>
                  <a:cubicBezTo>
                    <a:pt x="305" y="256"/>
                    <a:pt x="305" y="256"/>
                    <a:pt x="305" y="256"/>
                  </a:cubicBezTo>
                  <a:cubicBezTo>
                    <a:pt x="161" y="256"/>
                    <a:pt x="161" y="256"/>
                    <a:pt x="161" y="256"/>
                  </a:cubicBezTo>
                  <a:cubicBezTo>
                    <a:pt x="157" y="256"/>
                    <a:pt x="153" y="260"/>
                    <a:pt x="153" y="264"/>
                  </a:cubicBezTo>
                  <a:cubicBezTo>
                    <a:pt x="153" y="269"/>
                    <a:pt x="157" y="272"/>
                    <a:pt x="161" y="272"/>
                  </a:cubicBezTo>
                  <a:cubicBezTo>
                    <a:pt x="305" y="272"/>
                    <a:pt x="305" y="272"/>
                    <a:pt x="305" y="272"/>
                  </a:cubicBezTo>
                  <a:cubicBezTo>
                    <a:pt x="288" y="289"/>
                    <a:pt x="288" y="289"/>
                    <a:pt x="288" y="289"/>
                  </a:cubicBezTo>
                  <a:cubicBezTo>
                    <a:pt x="285" y="292"/>
                    <a:pt x="285" y="297"/>
                    <a:pt x="288" y="300"/>
                  </a:cubicBezTo>
                  <a:cubicBezTo>
                    <a:pt x="290" y="302"/>
                    <a:pt x="292" y="303"/>
                    <a:pt x="294" y="303"/>
                  </a:cubicBezTo>
                  <a:cubicBezTo>
                    <a:pt x="296" y="303"/>
                    <a:pt x="298" y="302"/>
                    <a:pt x="300" y="300"/>
                  </a:cubicBezTo>
                  <a:cubicBezTo>
                    <a:pt x="330" y="270"/>
                    <a:pt x="330" y="270"/>
                    <a:pt x="330" y="270"/>
                  </a:cubicBezTo>
                  <a:cubicBezTo>
                    <a:pt x="333" y="267"/>
                    <a:pt x="333" y="262"/>
                    <a:pt x="330" y="259"/>
                  </a:cubicBezTo>
                  <a:moveTo>
                    <a:pt x="80" y="209"/>
                  </a:moveTo>
                  <a:cubicBezTo>
                    <a:pt x="110" y="178"/>
                    <a:pt x="110" y="178"/>
                    <a:pt x="110" y="178"/>
                  </a:cubicBezTo>
                  <a:cubicBezTo>
                    <a:pt x="114" y="175"/>
                    <a:pt x="119" y="175"/>
                    <a:pt x="122" y="178"/>
                  </a:cubicBezTo>
                  <a:cubicBezTo>
                    <a:pt x="125" y="181"/>
                    <a:pt x="125" y="186"/>
                    <a:pt x="122" y="189"/>
                  </a:cubicBezTo>
                  <a:cubicBezTo>
                    <a:pt x="105" y="206"/>
                    <a:pt x="105" y="206"/>
                    <a:pt x="105" y="206"/>
                  </a:cubicBezTo>
                  <a:cubicBezTo>
                    <a:pt x="248" y="206"/>
                    <a:pt x="248" y="206"/>
                    <a:pt x="248" y="206"/>
                  </a:cubicBezTo>
                  <a:cubicBezTo>
                    <a:pt x="253" y="206"/>
                    <a:pt x="256" y="210"/>
                    <a:pt x="256" y="214"/>
                  </a:cubicBezTo>
                  <a:cubicBezTo>
                    <a:pt x="256" y="219"/>
                    <a:pt x="253" y="222"/>
                    <a:pt x="248" y="222"/>
                  </a:cubicBezTo>
                  <a:cubicBezTo>
                    <a:pt x="105" y="222"/>
                    <a:pt x="105" y="222"/>
                    <a:pt x="105" y="222"/>
                  </a:cubicBezTo>
                  <a:cubicBezTo>
                    <a:pt x="122" y="239"/>
                    <a:pt x="122" y="239"/>
                    <a:pt x="122" y="239"/>
                  </a:cubicBezTo>
                  <a:cubicBezTo>
                    <a:pt x="125" y="242"/>
                    <a:pt x="125" y="247"/>
                    <a:pt x="122" y="251"/>
                  </a:cubicBezTo>
                  <a:cubicBezTo>
                    <a:pt x="120" y="252"/>
                    <a:pt x="118" y="253"/>
                    <a:pt x="116" y="253"/>
                  </a:cubicBezTo>
                  <a:cubicBezTo>
                    <a:pt x="114" y="253"/>
                    <a:pt x="112" y="252"/>
                    <a:pt x="110" y="251"/>
                  </a:cubicBezTo>
                  <a:cubicBezTo>
                    <a:pt x="80" y="220"/>
                    <a:pt x="80" y="220"/>
                    <a:pt x="80" y="220"/>
                  </a:cubicBezTo>
                  <a:cubicBezTo>
                    <a:pt x="77" y="217"/>
                    <a:pt x="77" y="212"/>
                    <a:pt x="80" y="209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cxnSp>
        <p:nvCxnSpPr>
          <p:cNvPr id="25620" name="Straight Connector 133"/>
          <p:cNvCxnSpPr>
            <a:cxnSpLocks/>
            <a:stCxn id="25648" idx="2"/>
            <a:endCxn id="248" idx="6"/>
          </p:cNvCxnSpPr>
          <p:nvPr/>
        </p:nvCxnSpPr>
        <p:spPr bwMode="auto">
          <a:xfrm flipH="1">
            <a:off x="5559867" y="4214547"/>
            <a:ext cx="1026930" cy="480528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621" name="Text Box 144"/>
          <p:cNvSpPr txBox="1">
            <a:spLocks noChangeAspect="1" noChangeArrowheads="1"/>
          </p:cNvSpPr>
          <p:nvPr/>
        </p:nvSpPr>
        <p:spPr bwMode="auto">
          <a:xfrm>
            <a:off x="5164858" y="3885059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/>
              <a:t>N1</a:t>
            </a:r>
          </a:p>
        </p:txBody>
      </p:sp>
      <p:cxnSp>
        <p:nvCxnSpPr>
          <p:cNvPr id="25622" name="Straight Connector 135"/>
          <p:cNvCxnSpPr>
            <a:cxnSpLocks/>
            <a:stCxn id="25678" idx="2"/>
            <a:endCxn id="25683" idx="0"/>
          </p:cNvCxnSpPr>
          <p:nvPr/>
        </p:nvCxnSpPr>
        <p:spPr bwMode="auto">
          <a:xfrm flipH="1">
            <a:off x="8018810" y="4214810"/>
            <a:ext cx="14918" cy="143075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69" name="Title 1"/>
          <p:cNvSpPr>
            <a:spLocks noGrp="1"/>
          </p:cNvSpPr>
          <p:nvPr>
            <p:ph type="title"/>
          </p:nvPr>
        </p:nvSpPr>
        <p:spPr>
          <a:xfrm>
            <a:off x="120798" y="251141"/>
            <a:ext cx="11156797" cy="1084263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dirty="0">
                <a:solidFill>
                  <a:srgbClr val="58585A"/>
                </a:solidFill>
              </a:rPr>
              <a:t>5G </a:t>
            </a:r>
            <a:r>
              <a:rPr lang="en-US" sz="4000" dirty="0" err="1">
                <a:solidFill>
                  <a:srgbClr val="58585A"/>
                </a:solidFill>
              </a:rPr>
              <a:t>archite</a:t>
            </a:r>
            <a:r>
              <a:rPr lang="hu-HU" sz="4000" dirty="0">
                <a:solidFill>
                  <a:srgbClr val="58585A"/>
                </a:solidFill>
              </a:rPr>
              <a:t>k</a:t>
            </a:r>
            <a:r>
              <a:rPr lang="en-US" sz="4000" dirty="0">
                <a:solidFill>
                  <a:srgbClr val="58585A"/>
                </a:solidFill>
              </a:rPr>
              <a:t>t</a:t>
            </a:r>
            <a:r>
              <a:rPr lang="hu-HU" sz="4000" dirty="0">
                <a:solidFill>
                  <a:srgbClr val="58585A"/>
                </a:solidFill>
              </a:rPr>
              <a:t>ú</a:t>
            </a:r>
            <a:r>
              <a:rPr lang="en-US" sz="4000" dirty="0">
                <a:solidFill>
                  <a:srgbClr val="58585A"/>
                </a:solidFill>
              </a:rPr>
              <a:t>r</a:t>
            </a:r>
            <a:r>
              <a:rPr lang="hu-HU" sz="4000" dirty="0">
                <a:solidFill>
                  <a:srgbClr val="58585A"/>
                </a:solidFill>
              </a:rPr>
              <a:t>a – </a:t>
            </a:r>
            <a:r>
              <a:rPr lang="en-US" sz="4000" dirty="0">
                <a:solidFill>
                  <a:srgbClr val="58585A"/>
                </a:solidFill>
                <a:latin typeface="+mj-lt"/>
              </a:rPr>
              <a:t>Fun</a:t>
            </a:r>
            <a:r>
              <a:rPr lang="hu-HU" sz="4000" dirty="0">
                <a:solidFill>
                  <a:srgbClr val="58585A"/>
                </a:solidFill>
                <a:latin typeface="+mj-lt"/>
              </a:rPr>
              <a:t>k</a:t>
            </a:r>
            <a:r>
              <a:rPr lang="en-US" sz="4000" dirty="0" err="1">
                <a:solidFill>
                  <a:srgbClr val="58585A"/>
                </a:solidFill>
                <a:latin typeface="+mj-lt"/>
              </a:rPr>
              <a:t>cion</a:t>
            </a:r>
            <a:r>
              <a:rPr lang="hu-HU" sz="4000" dirty="0">
                <a:solidFill>
                  <a:srgbClr val="58585A"/>
                </a:solidFill>
                <a:latin typeface="+mj-lt"/>
              </a:rPr>
              <a:t>ális Nézet</a:t>
            </a:r>
            <a:r>
              <a:rPr lang="en-US" sz="4000" dirty="0">
                <a:solidFill>
                  <a:srgbClr val="58585A"/>
                </a:solidFill>
                <a:latin typeface="+mj-lt"/>
              </a:rPr>
              <a:t> </a:t>
            </a:r>
            <a:endParaRPr lang="en-US" sz="4000" dirty="0">
              <a:solidFill>
                <a:srgbClr val="00A9D4"/>
              </a:solidFill>
              <a:latin typeface="+mj-lt"/>
            </a:endParaRP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 bwMode="auto">
          <a:xfrm>
            <a:off x="9631301" y="1287282"/>
            <a:ext cx="0" cy="545725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669" name="Rectangle 241"/>
          <p:cNvSpPr>
            <a:spLocks noChangeAspect="1" noChangeArrowheads="1"/>
          </p:cNvSpPr>
          <p:nvPr/>
        </p:nvSpPr>
        <p:spPr bwMode="auto">
          <a:xfrm>
            <a:off x="6873954" y="1405846"/>
            <a:ext cx="654747" cy="93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rIns="72000" anchor="ctr"/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sv-SE" altLang="en-US" sz="1400"/>
          </a:p>
        </p:txBody>
      </p:sp>
      <p:grpSp>
        <p:nvGrpSpPr>
          <p:cNvPr id="25670" name="Group 274"/>
          <p:cNvGrpSpPr>
            <a:grpSpLocks noChangeAspect="1"/>
          </p:cNvGrpSpPr>
          <p:nvPr/>
        </p:nvGrpSpPr>
        <p:grpSpPr bwMode="auto">
          <a:xfrm>
            <a:off x="6940580" y="1481478"/>
            <a:ext cx="661162" cy="886718"/>
            <a:chOff x="3147" y="3026"/>
            <a:chExt cx="254" cy="364"/>
          </a:xfrm>
        </p:grpSpPr>
        <p:grpSp>
          <p:nvGrpSpPr>
            <p:cNvPr id="25671" name="Group 7"/>
            <p:cNvGrpSpPr>
              <a:grpSpLocks noChangeAspect="1"/>
            </p:cNvGrpSpPr>
            <p:nvPr/>
          </p:nvGrpSpPr>
          <p:grpSpPr bwMode="auto">
            <a:xfrm>
              <a:off x="3147" y="3026"/>
              <a:ext cx="254" cy="364"/>
              <a:chOff x="2277" y="1703"/>
              <a:chExt cx="969" cy="1392"/>
            </a:xfrm>
          </p:grpSpPr>
          <p:pic>
            <p:nvPicPr>
              <p:cNvPr id="25673" name="Bildobjekt 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87" y="1703"/>
                <a:ext cx="936" cy="13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674" name="Freeform 11"/>
              <p:cNvSpPr>
                <a:spLocks noChangeAspect="1" noEditPoints="1"/>
              </p:cNvSpPr>
              <p:nvPr/>
            </p:nvSpPr>
            <p:spPr bwMode="auto">
              <a:xfrm>
                <a:off x="2277" y="1703"/>
                <a:ext cx="969" cy="1392"/>
              </a:xfrm>
              <a:custGeom>
                <a:avLst/>
                <a:gdLst>
                  <a:gd name="T0" fmla="*/ 2147483646 w 410"/>
                  <a:gd name="T1" fmla="*/ 2147483646 h 589"/>
                  <a:gd name="T2" fmla="*/ 2147483646 w 410"/>
                  <a:gd name="T3" fmla="*/ 2147483646 h 589"/>
                  <a:gd name="T4" fmla="*/ 2147483646 w 410"/>
                  <a:gd name="T5" fmla="*/ 2147483646 h 589"/>
                  <a:gd name="T6" fmla="*/ 2147483646 w 410"/>
                  <a:gd name="T7" fmla="*/ 2147483646 h 589"/>
                  <a:gd name="T8" fmla="*/ 2147483646 w 410"/>
                  <a:gd name="T9" fmla="*/ 2147483646 h 589"/>
                  <a:gd name="T10" fmla="*/ 2147483646 w 410"/>
                  <a:gd name="T11" fmla="*/ 2147483646 h 589"/>
                  <a:gd name="T12" fmla="*/ 0 w 410"/>
                  <a:gd name="T13" fmla="*/ 2147483646 h 589"/>
                  <a:gd name="T14" fmla="*/ 2147483646 w 410"/>
                  <a:gd name="T15" fmla="*/ 2147483646 h 589"/>
                  <a:gd name="T16" fmla="*/ 2147483646 w 410"/>
                  <a:gd name="T17" fmla="*/ 2147483646 h 589"/>
                  <a:gd name="T18" fmla="*/ 2147483646 w 410"/>
                  <a:gd name="T19" fmla="*/ 2147483646 h 589"/>
                  <a:gd name="T20" fmla="*/ 2147483646 w 410"/>
                  <a:gd name="T21" fmla="*/ 2147483646 h 589"/>
                  <a:gd name="T22" fmla="*/ 2147483646 w 410"/>
                  <a:gd name="T23" fmla="*/ 2147483646 h 589"/>
                  <a:gd name="T24" fmla="*/ 2147483646 w 410"/>
                  <a:gd name="T25" fmla="*/ 2147483646 h 589"/>
                  <a:gd name="T26" fmla="*/ 2147483646 w 410"/>
                  <a:gd name="T27" fmla="*/ 2147483646 h 589"/>
                  <a:gd name="T28" fmla="*/ 2147483646 w 410"/>
                  <a:gd name="T29" fmla="*/ 2147483646 h 589"/>
                  <a:gd name="T30" fmla="*/ 2147483646 w 410"/>
                  <a:gd name="T31" fmla="*/ 2147483646 h 589"/>
                  <a:gd name="T32" fmla="*/ 2147483646 w 410"/>
                  <a:gd name="T33" fmla="*/ 2147483646 h 589"/>
                  <a:gd name="T34" fmla="*/ 2147483646 w 410"/>
                  <a:gd name="T35" fmla="*/ 2147483646 h 589"/>
                  <a:gd name="T36" fmla="*/ 2147483646 w 410"/>
                  <a:gd name="T37" fmla="*/ 2147483646 h 589"/>
                  <a:gd name="T38" fmla="*/ 2147483646 w 410"/>
                  <a:gd name="T39" fmla="*/ 2147483646 h 589"/>
                  <a:gd name="T40" fmla="*/ 2147483646 w 410"/>
                  <a:gd name="T41" fmla="*/ 2147483646 h 589"/>
                  <a:gd name="T42" fmla="*/ 2147483646 w 410"/>
                  <a:gd name="T43" fmla="*/ 2147483646 h 589"/>
                  <a:gd name="T44" fmla="*/ 2147483646 w 410"/>
                  <a:gd name="T45" fmla="*/ 2147483646 h 589"/>
                  <a:gd name="T46" fmla="*/ 2147483646 w 410"/>
                  <a:gd name="T47" fmla="*/ 2147483646 h 589"/>
                  <a:gd name="T48" fmla="*/ 2147483646 w 410"/>
                  <a:gd name="T49" fmla="*/ 2147483646 h 589"/>
                  <a:gd name="T50" fmla="*/ 2147483646 w 410"/>
                  <a:gd name="T51" fmla="*/ 2147483646 h 589"/>
                  <a:gd name="T52" fmla="*/ 2147483646 w 410"/>
                  <a:gd name="T53" fmla="*/ 2147483646 h 589"/>
                  <a:gd name="T54" fmla="*/ 2147483646 w 410"/>
                  <a:gd name="T55" fmla="*/ 2147483646 h 589"/>
                  <a:gd name="T56" fmla="*/ 2147483646 w 410"/>
                  <a:gd name="T57" fmla="*/ 2147483646 h 589"/>
                  <a:gd name="T58" fmla="*/ 2147483646 w 410"/>
                  <a:gd name="T59" fmla="*/ 2147483646 h 589"/>
                  <a:gd name="T60" fmla="*/ 2147483646 w 410"/>
                  <a:gd name="T61" fmla="*/ 2147483646 h 589"/>
                  <a:gd name="T62" fmla="*/ 2147483646 w 410"/>
                  <a:gd name="T63" fmla="*/ 2147483646 h 589"/>
                  <a:gd name="T64" fmla="*/ 2147483646 w 410"/>
                  <a:gd name="T65" fmla="*/ 2147483646 h 589"/>
                  <a:gd name="T66" fmla="*/ 2147483646 w 410"/>
                  <a:gd name="T67" fmla="*/ 2147483646 h 589"/>
                  <a:gd name="T68" fmla="*/ 2147483646 w 410"/>
                  <a:gd name="T69" fmla="*/ 2147483646 h 589"/>
                  <a:gd name="T70" fmla="*/ 2147483646 w 410"/>
                  <a:gd name="T71" fmla="*/ 2147483646 h 589"/>
                  <a:gd name="T72" fmla="*/ 2147483646 w 410"/>
                  <a:gd name="T73" fmla="*/ 2147483646 h 5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10"/>
                  <a:gd name="T112" fmla="*/ 0 h 589"/>
                  <a:gd name="T113" fmla="*/ 410 w 410"/>
                  <a:gd name="T114" fmla="*/ 589 h 5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10" h="589">
                    <a:moveTo>
                      <a:pt x="402" y="229"/>
                    </a:moveTo>
                    <a:cubicBezTo>
                      <a:pt x="397" y="229"/>
                      <a:pt x="394" y="233"/>
                      <a:pt x="394" y="237"/>
                    </a:cubicBezTo>
                    <a:cubicBezTo>
                      <a:pt x="394" y="549"/>
                      <a:pt x="394" y="549"/>
                      <a:pt x="394" y="549"/>
                    </a:cubicBezTo>
                    <a:cubicBezTo>
                      <a:pt x="394" y="563"/>
                      <a:pt x="383" y="573"/>
                      <a:pt x="370" y="573"/>
                    </a:cubicBezTo>
                    <a:cubicBezTo>
                      <a:pt x="41" y="573"/>
                      <a:pt x="41" y="573"/>
                      <a:pt x="41" y="573"/>
                    </a:cubicBezTo>
                    <a:cubicBezTo>
                      <a:pt x="27" y="573"/>
                      <a:pt x="17" y="563"/>
                      <a:pt x="16" y="549"/>
                    </a:cubicBezTo>
                    <a:cubicBezTo>
                      <a:pt x="16" y="205"/>
                      <a:pt x="16" y="205"/>
                      <a:pt x="16" y="205"/>
                    </a:cubicBezTo>
                    <a:cubicBezTo>
                      <a:pt x="17" y="101"/>
                      <a:pt x="101" y="16"/>
                      <a:pt x="205" y="16"/>
                    </a:cubicBezTo>
                    <a:cubicBezTo>
                      <a:pt x="309" y="16"/>
                      <a:pt x="394" y="101"/>
                      <a:pt x="394" y="205"/>
                    </a:cubicBezTo>
                    <a:cubicBezTo>
                      <a:pt x="394" y="209"/>
                      <a:pt x="397" y="213"/>
                      <a:pt x="402" y="213"/>
                    </a:cubicBezTo>
                    <a:cubicBezTo>
                      <a:pt x="406" y="213"/>
                      <a:pt x="410" y="209"/>
                      <a:pt x="410" y="205"/>
                    </a:cubicBezTo>
                    <a:cubicBezTo>
                      <a:pt x="410" y="205"/>
                      <a:pt x="410" y="205"/>
                      <a:pt x="410" y="205"/>
                    </a:cubicBezTo>
                    <a:cubicBezTo>
                      <a:pt x="410" y="92"/>
                      <a:pt x="318" y="0"/>
                      <a:pt x="205" y="0"/>
                    </a:cubicBezTo>
                    <a:cubicBezTo>
                      <a:pt x="92" y="0"/>
                      <a:pt x="0" y="92"/>
                      <a:pt x="0" y="205"/>
                    </a:cubicBezTo>
                    <a:cubicBezTo>
                      <a:pt x="0" y="205"/>
                      <a:pt x="0" y="205"/>
                      <a:pt x="0" y="205"/>
                    </a:cubicBezTo>
                    <a:cubicBezTo>
                      <a:pt x="1" y="549"/>
                      <a:pt x="1" y="549"/>
                      <a:pt x="1" y="549"/>
                    </a:cubicBezTo>
                    <a:cubicBezTo>
                      <a:pt x="1" y="571"/>
                      <a:pt x="18" y="589"/>
                      <a:pt x="41" y="589"/>
                    </a:cubicBezTo>
                    <a:cubicBezTo>
                      <a:pt x="370" y="589"/>
                      <a:pt x="370" y="589"/>
                      <a:pt x="370" y="589"/>
                    </a:cubicBezTo>
                    <a:cubicBezTo>
                      <a:pt x="392" y="589"/>
                      <a:pt x="410" y="571"/>
                      <a:pt x="410" y="549"/>
                    </a:cubicBezTo>
                    <a:cubicBezTo>
                      <a:pt x="410" y="237"/>
                      <a:pt x="410" y="237"/>
                      <a:pt x="410" y="237"/>
                    </a:cubicBezTo>
                    <a:cubicBezTo>
                      <a:pt x="410" y="233"/>
                      <a:pt x="406" y="229"/>
                      <a:pt x="402" y="229"/>
                    </a:cubicBezTo>
                    <a:moveTo>
                      <a:pt x="148" y="173"/>
                    </a:moveTo>
                    <a:cubicBezTo>
                      <a:pt x="262" y="173"/>
                      <a:pt x="262" y="173"/>
                      <a:pt x="262" y="173"/>
                    </a:cubicBezTo>
                    <a:cubicBezTo>
                      <a:pt x="264" y="173"/>
                      <a:pt x="267" y="172"/>
                      <a:pt x="269" y="169"/>
                    </a:cubicBezTo>
                    <a:cubicBezTo>
                      <a:pt x="270" y="167"/>
                      <a:pt x="270" y="164"/>
                      <a:pt x="269" y="162"/>
                    </a:cubicBezTo>
                    <a:cubicBezTo>
                      <a:pt x="212" y="48"/>
                      <a:pt x="212" y="48"/>
                      <a:pt x="212" y="48"/>
                    </a:cubicBezTo>
                    <a:cubicBezTo>
                      <a:pt x="211" y="45"/>
                      <a:pt x="208" y="43"/>
                      <a:pt x="205" y="43"/>
                    </a:cubicBezTo>
                    <a:cubicBezTo>
                      <a:pt x="202" y="43"/>
                      <a:pt x="199" y="45"/>
                      <a:pt x="198" y="48"/>
                    </a:cubicBezTo>
                    <a:cubicBezTo>
                      <a:pt x="141" y="162"/>
                      <a:pt x="141" y="162"/>
                      <a:pt x="141" y="162"/>
                    </a:cubicBezTo>
                    <a:cubicBezTo>
                      <a:pt x="139" y="164"/>
                      <a:pt x="139" y="167"/>
                      <a:pt x="141" y="169"/>
                    </a:cubicBezTo>
                    <a:cubicBezTo>
                      <a:pt x="142" y="172"/>
                      <a:pt x="145" y="173"/>
                      <a:pt x="148" y="173"/>
                    </a:cubicBezTo>
                    <a:moveTo>
                      <a:pt x="205" y="69"/>
                    </a:moveTo>
                    <a:cubicBezTo>
                      <a:pt x="249" y="157"/>
                      <a:pt x="249" y="157"/>
                      <a:pt x="249" y="157"/>
                    </a:cubicBezTo>
                    <a:cubicBezTo>
                      <a:pt x="161" y="157"/>
                      <a:pt x="161" y="157"/>
                      <a:pt x="161" y="157"/>
                    </a:cubicBezTo>
                    <a:lnTo>
                      <a:pt x="205" y="69"/>
                    </a:lnTo>
                    <a:close/>
                    <a:moveTo>
                      <a:pt x="90" y="210"/>
                    </a:moveTo>
                    <a:cubicBezTo>
                      <a:pt x="87" y="212"/>
                      <a:pt x="84" y="213"/>
                      <a:pt x="81" y="216"/>
                    </a:cubicBezTo>
                    <a:cubicBezTo>
                      <a:pt x="79" y="218"/>
                      <a:pt x="76" y="221"/>
                      <a:pt x="76" y="226"/>
                    </a:cubicBezTo>
                    <a:cubicBezTo>
                      <a:pt x="76" y="274"/>
                      <a:pt x="76" y="274"/>
                      <a:pt x="76" y="274"/>
                    </a:cubicBezTo>
                    <a:cubicBezTo>
                      <a:pt x="76" y="279"/>
                      <a:pt x="79" y="282"/>
                      <a:pt x="81" y="284"/>
                    </a:cubicBezTo>
                    <a:cubicBezTo>
                      <a:pt x="86" y="288"/>
                      <a:pt x="92" y="290"/>
                      <a:pt x="99" y="293"/>
                    </a:cubicBezTo>
                    <a:cubicBezTo>
                      <a:pt x="122" y="299"/>
                      <a:pt x="161" y="303"/>
                      <a:pt x="205" y="303"/>
                    </a:cubicBezTo>
                    <a:cubicBezTo>
                      <a:pt x="239" y="303"/>
                      <a:pt x="270" y="300"/>
                      <a:pt x="292" y="297"/>
                    </a:cubicBezTo>
                    <a:cubicBezTo>
                      <a:pt x="304" y="295"/>
                      <a:pt x="313" y="292"/>
                      <a:pt x="320" y="290"/>
                    </a:cubicBezTo>
                    <a:cubicBezTo>
                      <a:pt x="324" y="288"/>
                      <a:pt x="327" y="287"/>
                      <a:pt x="329" y="284"/>
                    </a:cubicBezTo>
                    <a:cubicBezTo>
                      <a:pt x="332" y="282"/>
                      <a:pt x="334" y="279"/>
                      <a:pt x="334" y="274"/>
                    </a:cubicBezTo>
                    <a:cubicBezTo>
                      <a:pt x="334" y="226"/>
                      <a:pt x="334" y="226"/>
                      <a:pt x="334" y="226"/>
                    </a:cubicBezTo>
                    <a:cubicBezTo>
                      <a:pt x="334" y="221"/>
                      <a:pt x="332" y="218"/>
                      <a:pt x="329" y="216"/>
                    </a:cubicBezTo>
                    <a:cubicBezTo>
                      <a:pt x="325" y="212"/>
                      <a:pt x="319" y="210"/>
                      <a:pt x="311" y="207"/>
                    </a:cubicBezTo>
                    <a:cubicBezTo>
                      <a:pt x="288" y="201"/>
                      <a:pt x="250" y="197"/>
                      <a:pt x="205" y="197"/>
                    </a:cubicBezTo>
                    <a:cubicBezTo>
                      <a:pt x="171" y="197"/>
                      <a:pt x="141" y="199"/>
                      <a:pt x="118" y="203"/>
                    </a:cubicBezTo>
                    <a:cubicBezTo>
                      <a:pt x="107" y="205"/>
                      <a:pt x="97" y="208"/>
                      <a:pt x="90" y="210"/>
                    </a:cubicBezTo>
                    <a:moveTo>
                      <a:pt x="318" y="272"/>
                    </a:moveTo>
                    <a:cubicBezTo>
                      <a:pt x="317" y="274"/>
                      <a:pt x="313" y="275"/>
                      <a:pt x="307" y="277"/>
                    </a:cubicBezTo>
                    <a:cubicBezTo>
                      <a:pt x="287" y="283"/>
                      <a:pt x="249" y="287"/>
                      <a:pt x="205" y="287"/>
                    </a:cubicBezTo>
                    <a:cubicBezTo>
                      <a:pt x="172" y="287"/>
                      <a:pt x="142" y="285"/>
                      <a:pt x="121" y="281"/>
                    </a:cubicBezTo>
                    <a:cubicBezTo>
                      <a:pt x="110" y="279"/>
                      <a:pt x="102" y="277"/>
                      <a:pt x="96" y="275"/>
                    </a:cubicBezTo>
                    <a:cubicBezTo>
                      <a:pt x="94" y="274"/>
                      <a:pt x="93" y="273"/>
                      <a:pt x="92" y="272"/>
                    </a:cubicBezTo>
                    <a:cubicBezTo>
                      <a:pt x="92" y="242"/>
                      <a:pt x="92" y="242"/>
                      <a:pt x="92" y="242"/>
                    </a:cubicBezTo>
                    <a:cubicBezTo>
                      <a:pt x="94" y="243"/>
                      <a:pt x="97" y="244"/>
                      <a:pt x="99" y="244"/>
                    </a:cubicBezTo>
                    <a:cubicBezTo>
                      <a:pt x="122" y="251"/>
                      <a:pt x="161" y="255"/>
                      <a:pt x="205" y="255"/>
                    </a:cubicBezTo>
                    <a:cubicBezTo>
                      <a:pt x="239" y="255"/>
                      <a:pt x="270" y="252"/>
                      <a:pt x="292" y="248"/>
                    </a:cubicBezTo>
                    <a:cubicBezTo>
                      <a:pt x="303" y="247"/>
                      <a:pt x="312" y="244"/>
                      <a:pt x="319" y="242"/>
                    </a:cubicBezTo>
                    <a:lnTo>
                      <a:pt x="318" y="272"/>
                    </a:lnTo>
                    <a:close/>
                    <a:moveTo>
                      <a:pt x="290" y="219"/>
                    </a:moveTo>
                    <a:cubicBezTo>
                      <a:pt x="300" y="221"/>
                      <a:pt x="309" y="223"/>
                      <a:pt x="314" y="225"/>
                    </a:cubicBezTo>
                    <a:cubicBezTo>
                      <a:pt x="315" y="225"/>
                      <a:pt x="315" y="226"/>
                      <a:pt x="316" y="226"/>
                    </a:cubicBezTo>
                    <a:cubicBezTo>
                      <a:pt x="313" y="227"/>
                      <a:pt x="311" y="228"/>
                      <a:pt x="307" y="229"/>
                    </a:cubicBezTo>
                    <a:cubicBezTo>
                      <a:pt x="287" y="235"/>
                      <a:pt x="249" y="239"/>
                      <a:pt x="205" y="239"/>
                    </a:cubicBezTo>
                    <a:cubicBezTo>
                      <a:pt x="172" y="239"/>
                      <a:pt x="142" y="236"/>
                      <a:pt x="121" y="233"/>
                    </a:cubicBezTo>
                    <a:cubicBezTo>
                      <a:pt x="110" y="231"/>
                      <a:pt x="102" y="229"/>
                      <a:pt x="96" y="227"/>
                    </a:cubicBezTo>
                    <a:cubicBezTo>
                      <a:pt x="96" y="226"/>
                      <a:pt x="95" y="226"/>
                      <a:pt x="95" y="226"/>
                    </a:cubicBezTo>
                    <a:cubicBezTo>
                      <a:pt x="97" y="225"/>
                      <a:pt x="100" y="224"/>
                      <a:pt x="103" y="223"/>
                    </a:cubicBezTo>
                    <a:cubicBezTo>
                      <a:pt x="123" y="217"/>
                      <a:pt x="162" y="213"/>
                      <a:pt x="205" y="213"/>
                    </a:cubicBezTo>
                    <a:cubicBezTo>
                      <a:pt x="238" y="213"/>
                      <a:pt x="268" y="215"/>
                      <a:pt x="290" y="219"/>
                    </a:cubicBezTo>
                  </a:path>
                </a:pathLst>
              </a:custGeom>
              <a:solidFill>
                <a:srgbClr val="5052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tIns="1080000" anchor="ctr"/>
              <a:lstStyle/>
              <a:p>
                <a:endParaRPr lang="en-US"/>
              </a:p>
            </p:txBody>
          </p:sp>
        </p:grpSp>
        <p:sp>
          <p:nvSpPr>
            <p:cNvPr id="25672" name="Text Box 278"/>
            <p:cNvSpPr txBox="1">
              <a:spLocks noChangeAspect="1" noChangeArrowheads="1"/>
            </p:cNvSpPr>
            <p:nvPr/>
          </p:nvSpPr>
          <p:spPr bwMode="auto">
            <a:xfrm>
              <a:off x="3161" y="3231"/>
              <a:ext cx="22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600"/>
                </a:spcBef>
                <a:buClrTx/>
                <a:buFontTx/>
                <a:buNone/>
              </a:pPr>
              <a:r>
                <a:rPr lang="en-US" altLang="en-US" sz="1400"/>
                <a:t>PCF</a:t>
              </a:r>
            </a:p>
          </p:txBody>
        </p:sp>
      </p:grpSp>
      <p:sp>
        <p:nvSpPr>
          <p:cNvPr id="172" name="Text Box 144"/>
          <p:cNvSpPr txBox="1">
            <a:spLocks noChangeAspect="1" noChangeArrowheads="1"/>
          </p:cNvSpPr>
          <p:nvPr/>
        </p:nvSpPr>
        <p:spPr bwMode="auto">
          <a:xfrm>
            <a:off x="6469917" y="3164275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amf</a:t>
            </a:r>
            <a:endParaRPr lang="en-US" altLang="en-US" sz="1400" dirty="0"/>
          </a:p>
        </p:txBody>
      </p:sp>
      <p:sp>
        <p:nvSpPr>
          <p:cNvPr id="173" name="Text Box 144"/>
          <p:cNvSpPr txBox="1">
            <a:spLocks noChangeAspect="1" noChangeArrowheads="1"/>
          </p:cNvSpPr>
          <p:nvPr/>
        </p:nvSpPr>
        <p:spPr bwMode="auto">
          <a:xfrm>
            <a:off x="4525805" y="2473140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ausf</a:t>
            </a:r>
            <a:endParaRPr lang="en-US" altLang="en-US" sz="1400" dirty="0"/>
          </a:p>
        </p:txBody>
      </p:sp>
      <p:sp>
        <p:nvSpPr>
          <p:cNvPr id="174" name="Text Box 144"/>
          <p:cNvSpPr txBox="1">
            <a:spLocks noChangeAspect="1" noChangeArrowheads="1"/>
          </p:cNvSpPr>
          <p:nvPr/>
        </p:nvSpPr>
        <p:spPr bwMode="auto">
          <a:xfrm>
            <a:off x="7108664" y="2461043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pcf</a:t>
            </a:r>
            <a:endParaRPr lang="en-US" altLang="en-US" sz="1400" dirty="0"/>
          </a:p>
        </p:txBody>
      </p:sp>
      <p:sp>
        <p:nvSpPr>
          <p:cNvPr id="175" name="Text Box 144"/>
          <p:cNvSpPr txBox="1">
            <a:spLocks noChangeAspect="1" noChangeArrowheads="1"/>
          </p:cNvSpPr>
          <p:nvPr/>
        </p:nvSpPr>
        <p:spPr bwMode="auto">
          <a:xfrm>
            <a:off x="6264383" y="2476244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udm</a:t>
            </a:r>
            <a:endParaRPr lang="en-US" altLang="en-US" sz="1400" dirty="0"/>
          </a:p>
        </p:txBody>
      </p:sp>
      <p:sp>
        <p:nvSpPr>
          <p:cNvPr id="176" name="Text Box 144"/>
          <p:cNvSpPr txBox="1">
            <a:spLocks noChangeAspect="1" noChangeArrowheads="1"/>
          </p:cNvSpPr>
          <p:nvPr/>
        </p:nvSpPr>
        <p:spPr bwMode="auto">
          <a:xfrm>
            <a:off x="8013920" y="3153548"/>
            <a:ext cx="741516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smf</a:t>
            </a:r>
            <a:endParaRPr lang="en-US" altLang="en-US" sz="1400" dirty="0"/>
          </a:p>
        </p:txBody>
      </p:sp>
      <p:sp>
        <p:nvSpPr>
          <p:cNvPr id="177" name="Text Box 144"/>
          <p:cNvSpPr txBox="1">
            <a:spLocks noChangeAspect="1" noChangeArrowheads="1"/>
          </p:cNvSpPr>
          <p:nvPr/>
        </p:nvSpPr>
        <p:spPr bwMode="auto">
          <a:xfrm>
            <a:off x="10209216" y="2457323"/>
            <a:ext cx="992188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af</a:t>
            </a:r>
            <a:endParaRPr lang="en-US" altLang="en-US" sz="1400" dirty="0"/>
          </a:p>
        </p:txBody>
      </p:sp>
      <p:grpSp>
        <p:nvGrpSpPr>
          <p:cNvPr id="191" name="Group 74"/>
          <p:cNvGrpSpPr>
            <a:grpSpLocks/>
          </p:cNvGrpSpPr>
          <p:nvPr/>
        </p:nvGrpSpPr>
        <p:grpSpPr bwMode="auto">
          <a:xfrm>
            <a:off x="9760101" y="4954489"/>
            <a:ext cx="2249488" cy="1719263"/>
            <a:chOff x="9344462" y="5130211"/>
            <a:chExt cx="2250397" cy="1719278"/>
          </a:xfrm>
        </p:grpSpPr>
        <p:sp>
          <p:nvSpPr>
            <p:cNvPr id="192" name="Freeform 34"/>
            <p:cNvSpPr>
              <a:spLocks noChangeAspect="1"/>
            </p:cNvSpPr>
            <p:nvPr/>
          </p:nvSpPr>
          <p:spPr bwMode="auto">
            <a:xfrm>
              <a:off x="9344462" y="5130211"/>
              <a:ext cx="2250397" cy="1719278"/>
            </a:xfrm>
            <a:custGeom>
              <a:avLst/>
              <a:gdLst>
                <a:gd name="T0" fmla="*/ 2147483646 w 522"/>
                <a:gd name="T1" fmla="*/ 2147483646 h 399"/>
                <a:gd name="T2" fmla="*/ 2147483646 w 522"/>
                <a:gd name="T3" fmla="*/ 2147483646 h 399"/>
                <a:gd name="T4" fmla="*/ 0 w 522"/>
                <a:gd name="T5" fmla="*/ 2147483646 h 399"/>
                <a:gd name="T6" fmla="*/ 2147483646 w 522"/>
                <a:gd name="T7" fmla="*/ 2147483646 h 399"/>
                <a:gd name="T8" fmla="*/ 2147483646 w 522"/>
                <a:gd name="T9" fmla="*/ 2147483646 h 399"/>
                <a:gd name="T10" fmla="*/ 2147483646 w 522"/>
                <a:gd name="T11" fmla="*/ 0 h 399"/>
                <a:gd name="T12" fmla="*/ 2147483646 w 522"/>
                <a:gd name="T13" fmla="*/ 2147483646 h 399"/>
                <a:gd name="T14" fmla="*/ 2147483646 w 522"/>
                <a:gd name="T15" fmla="*/ 2147483646 h 399"/>
                <a:gd name="T16" fmla="*/ 2147483646 w 522"/>
                <a:gd name="T17" fmla="*/ 2147483646 h 399"/>
                <a:gd name="T18" fmla="*/ 2147483646 w 522"/>
                <a:gd name="T19" fmla="*/ 2147483646 h 399"/>
                <a:gd name="T20" fmla="*/ 2147483646 w 522"/>
                <a:gd name="T21" fmla="*/ 2147483646 h 399"/>
                <a:gd name="T22" fmla="*/ 2147483646 w 522"/>
                <a:gd name="T23" fmla="*/ 2147483646 h 399"/>
                <a:gd name="T24" fmla="*/ 2147483646 w 522"/>
                <a:gd name="T25" fmla="*/ 2147483646 h 399"/>
                <a:gd name="T26" fmla="*/ 2147483646 w 522"/>
                <a:gd name="T27" fmla="*/ 2147483646 h 399"/>
                <a:gd name="T28" fmla="*/ 2147483646 w 522"/>
                <a:gd name="T29" fmla="*/ 2147483646 h 399"/>
                <a:gd name="T30" fmla="*/ 2147483646 w 522"/>
                <a:gd name="T31" fmla="*/ 2147483646 h 399"/>
                <a:gd name="T32" fmla="*/ 2147483646 w 522"/>
                <a:gd name="T33" fmla="*/ 2147483646 h 399"/>
                <a:gd name="T34" fmla="*/ 2147483646 w 522"/>
                <a:gd name="T35" fmla="*/ 2147483646 h 399"/>
                <a:gd name="T36" fmla="*/ 2147483646 w 522"/>
                <a:gd name="T37" fmla="*/ 2147483646 h 399"/>
                <a:gd name="T38" fmla="*/ 2147483646 w 522"/>
                <a:gd name="T39" fmla="*/ 2147483646 h 399"/>
                <a:gd name="T40" fmla="*/ 2147483646 w 522"/>
                <a:gd name="T41" fmla="*/ 2147483646 h 399"/>
                <a:gd name="T42" fmla="*/ 2147483646 w 522"/>
                <a:gd name="T43" fmla="*/ 2147483646 h 399"/>
                <a:gd name="T44" fmla="*/ 2147483646 w 522"/>
                <a:gd name="T45" fmla="*/ 2147483646 h 399"/>
                <a:gd name="T46" fmla="*/ 2147483646 w 522"/>
                <a:gd name="T47" fmla="*/ 2147483646 h 399"/>
                <a:gd name="T48" fmla="*/ 2147483646 w 522"/>
                <a:gd name="T49" fmla="*/ 2147483646 h 399"/>
                <a:gd name="T50" fmla="*/ 2147483646 w 522"/>
                <a:gd name="T51" fmla="*/ 2147483646 h 399"/>
                <a:gd name="T52" fmla="*/ 2147483646 w 522"/>
                <a:gd name="T53" fmla="*/ 2147483646 h 399"/>
                <a:gd name="T54" fmla="*/ 2147483646 w 522"/>
                <a:gd name="T55" fmla="*/ 2147483646 h 399"/>
                <a:gd name="T56" fmla="*/ 2147483646 w 522"/>
                <a:gd name="T57" fmla="*/ 2147483646 h 399"/>
                <a:gd name="T58" fmla="*/ 2147483646 w 522"/>
                <a:gd name="T59" fmla="*/ 2147483646 h 399"/>
                <a:gd name="T60" fmla="*/ 2147483646 w 522"/>
                <a:gd name="T61" fmla="*/ 2147483646 h 399"/>
                <a:gd name="T62" fmla="*/ 2147483646 w 522"/>
                <a:gd name="T63" fmla="*/ 2147483646 h 399"/>
                <a:gd name="T64" fmla="*/ 2147483646 w 522"/>
                <a:gd name="T65" fmla="*/ 2147483646 h 399"/>
                <a:gd name="T66" fmla="*/ 2147483646 w 522"/>
                <a:gd name="T67" fmla="*/ 2147483646 h 399"/>
                <a:gd name="T68" fmla="*/ 2147483646 w 522"/>
                <a:gd name="T69" fmla="*/ 2147483646 h 399"/>
                <a:gd name="T70" fmla="*/ 2147483646 w 522"/>
                <a:gd name="T71" fmla="*/ 2147483646 h 399"/>
                <a:gd name="T72" fmla="*/ 2147483646 w 522"/>
                <a:gd name="T73" fmla="*/ 2147483646 h 399"/>
                <a:gd name="T74" fmla="*/ 2147483646 w 522"/>
                <a:gd name="T75" fmla="*/ 2147483646 h 399"/>
                <a:gd name="T76" fmla="*/ 2147483646 w 522"/>
                <a:gd name="T77" fmla="*/ 2147483646 h 399"/>
                <a:gd name="T78" fmla="*/ 2147483646 w 522"/>
                <a:gd name="T79" fmla="*/ 2147483646 h 399"/>
                <a:gd name="T80" fmla="*/ 2147483646 w 522"/>
                <a:gd name="T81" fmla="*/ 2147483646 h 399"/>
                <a:gd name="T82" fmla="*/ 2147483646 w 522"/>
                <a:gd name="T83" fmla="*/ 2147483646 h 399"/>
                <a:gd name="T84" fmla="*/ 2147483646 w 522"/>
                <a:gd name="T85" fmla="*/ 2147483646 h 39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22"/>
                <a:gd name="T130" fmla="*/ 0 h 399"/>
                <a:gd name="T131" fmla="*/ 522 w 522"/>
                <a:gd name="T132" fmla="*/ 399 h 39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22" h="399">
                  <a:moveTo>
                    <a:pt x="111" y="354"/>
                  </a:moveTo>
                  <a:cubicBezTo>
                    <a:pt x="105" y="356"/>
                    <a:pt x="98" y="357"/>
                    <a:pt x="91" y="357"/>
                  </a:cubicBezTo>
                  <a:cubicBezTo>
                    <a:pt x="91" y="357"/>
                    <a:pt x="91" y="357"/>
                    <a:pt x="91" y="357"/>
                  </a:cubicBezTo>
                  <a:cubicBezTo>
                    <a:pt x="53" y="357"/>
                    <a:pt x="23" y="326"/>
                    <a:pt x="23" y="288"/>
                  </a:cubicBezTo>
                  <a:cubicBezTo>
                    <a:pt x="23" y="288"/>
                    <a:pt x="23" y="288"/>
                    <a:pt x="23" y="288"/>
                  </a:cubicBezTo>
                  <a:cubicBezTo>
                    <a:pt x="23" y="281"/>
                    <a:pt x="24" y="275"/>
                    <a:pt x="26" y="268"/>
                  </a:cubicBezTo>
                  <a:cubicBezTo>
                    <a:pt x="26" y="268"/>
                    <a:pt x="26" y="268"/>
                    <a:pt x="26" y="268"/>
                  </a:cubicBezTo>
                  <a:cubicBezTo>
                    <a:pt x="10" y="252"/>
                    <a:pt x="0" y="230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0" y="159"/>
                    <a:pt x="35" y="120"/>
                    <a:pt x="81" y="115"/>
                  </a:cubicBezTo>
                  <a:cubicBezTo>
                    <a:pt x="81" y="115"/>
                    <a:pt x="81" y="115"/>
                    <a:pt x="81" y="115"/>
                  </a:cubicBezTo>
                  <a:cubicBezTo>
                    <a:pt x="80" y="114"/>
                    <a:pt x="80" y="112"/>
                    <a:pt x="80" y="111"/>
                  </a:cubicBezTo>
                  <a:cubicBezTo>
                    <a:pt x="80" y="111"/>
                    <a:pt x="80" y="111"/>
                    <a:pt x="80" y="111"/>
                  </a:cubicBezTo>
                  <a:cubicBezTo>
                    <a:pt x="80" y="72"/>
                    <a:pt x="111" y="41"/>
                    <a:pt x="150" y="41"/>
                  </a:cubicBezTo>
                  <a:cubicBezTo>
                    <a:pt x="150" y="41"/>
                    <a:pt x="150" y="41"/>
                    <a:pt x="150" y="41"/>
                  </a:cubicBezTo>
                  <a:cubicBezTo>
                    <a:pt x="164" y="41"/>
                    <a:pt x="177" y="46"/>
                    <a:pt x="188" y="53"/>
                  </a:cubicBezTo>
                  <a:cubicBezTo>
                    <a:pt x="188" y="53"/>
                    <a:pt x="188" y="53"/>
                    <a:pt x="188" y="53"/>
                  </a:cubicBezTo>
                  <a:cubicBezTo>
                    <a:pt x="206" y="21"/>
                    <a:pt x="240" y="0"/>
                    <a:pt x="278" y="0"/>
                  </a:cubicBezTo>
                  <a:cubicBezTo>
                    <a:pt x="278" y="0"/>
                    <a:pt x="278" y="0"/>
                    <a:pt x="278" y="0"/>
                  </a:cubicBezTo>
                  <a:cubicBezTo>
                    <a:pt x="324" y="0"/>
                    <a:pt x="363" y="30"/>
                    <a:pt x="376" y="72"/>
                  </a:cubicBezTo>
                  <a:cubicBezTo>
                    <a:pt x="376" y="72"/>
                    <a:pt x="376" y="72"/>
                    <a:pt x="376" y="72"/>
                  </a:cubicBezTo>
                  <a:cubicBezTo>
                    <a:pt x="379" y="72"/>
                    <a:pt x="381" y="71"/>
                    <a:pt x="383" y="71"/>
                  </a:cubicBezTo>
                  <a:cubicBezTo>
                    <a:pt x="383" y="71"/>
                    <a:pt x="383" y="71"/>
                    <a:pt x="383" y="71"/>
                  </a:cubicBezTo>
                  <a:cubicBezTo>
                    <a:pt x="400" y="71"/>
                    <a:pt x="416" y="76"/>
                    <a:pt x="430" y="85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0" y="85"/>
                    <a:pt x="430" y="85"/>
                    <a:pt x="430" y="85"/>
                  </a:cubicBezTo>
                  <a:cubicBezTo>
                    <a:pt x="433" y="87"/>
                    <a:pt x="434" y="92"/>
                    <a:pt x="432" y="96"/>
                  </a:cubicBezTo>
                  <a:cubicBezTo>
                    <a:pt x="432" y="96"/>
                    <a:pt x="432" y="96"/>
                    <a:pt x="432" y="96"/>
                  </a:cubicBezTo>
                  <a:cubicBezTo>
                    <a:pt x="430" y="100"/>
                    <a:pt x="425" y="101"/>
                    <a:pt x="421" y="98"/>
                  </a:cubicBezTo>
                  <a:cubicBezTo>
                    <a:pt x="421" y="98"/>
                    <a:pt x="421" y="98"/>
                    <a:pt x="421" y="98"/>
                  </a:cubicBezTo>
                  <a:cubicBezTo>
                    <a:pt x="410" y="91"/>
                    <a:pt x="397" y="87"/>
                    <a:pt x="383" y="87"/>
                  </a:cubicBezTo>
                  <a:cubicBezTo>
                    <a:pt x="383" y="87"/>
                    <a:pt x="383" y="87"/>
                    <a:pt x="383" y="87"/>
                  </a:cubicBezTo>
                  <a:cubicBezTo>
                    <a:pt x="379" y="87"/>
                    <a:pt x="376" y="88"/>
                    <a:pt x="372" y="88"/>
                  </a:cubicBezTo>
                  <a:cubicBezTo>
                    <a:pt x="372" y="88"/>
                    <a:pt x="372" y="88"/>
                    <a:pt x="372" y="88"/>
                  </a:cubicBezTo>
                  <a:cubicBezTo>
                    <a:pt x="368" y="89"/>
                    <a:pt x="364" y="86"/>
                    <a:pt x="363" y="82"/>
                  </a:cubicBezTo>
                  <a:cubicBezTo>
                    <a:pt x="363" y="82"/>
                    <a:pt x="363" y="82"/>
                    <a:pt x="363" y="82"/>
                  </a:cubicBezTo>
                  <a:cubicBezTo>
                    <a:pt x="354" y="44"/>
                    <a:pt x="319" y="16"/>
                    <a:pt x="278" y="16"/>
                  </a:cubicBezTo>
                  <a:cubicBezTo>
                    <a:pt x="278" y="16"/>
                    <a:pt x="278" y="16"/>
                    <a:pt x="278" y="16"/>
                  </a:cubicBezTo>
                  <a:cubicBezTo>
                    <a:pt x="242" y="16"/>
                    <a:pt x="212" y="38"/>
                    <a:pt x="199" y="69"/>
                  </a:cubicBezTo>
                  <a:cubicBezTo>
                    <a:pt x="199" y="69"/>
                    <a:pt x="199" y="69"/>
                    <a:pt x="199" y="69"/>
                  </a:cubicBezTo>
                  <a:cubicBezTo>
                    <a:pt x="198" y="71"/>
                    <a:pt x="195" y="73"/>
                    <a:pt x="193" y="73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190" y="74"/>
                    <a:pt x="188" y="73"/>
                    <a:pt x="186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76" y="63"/>
                    <a:pt x="164" y="57"/>
                    <a:pt x="150" y="57"/>
                  </a:cubicBezTo>
                  <a:cubicBezTo>
                    <a:pt x="150" y="57"/>
                    <a:pt x="150" y="57"/>
                    <a:pt x="150" y="57"/>
                  </a:cubicBezTo>
                  <a:cubicBezTo>
                    <a:pt x="120" y="57"/>
                    <a:pt x="96" y="81"/>
                    <a:pt x="96" y="111"/>
                  </a:cubicBezTo>
                  <a:cubicBezTo>
                    <a:pt x="96" y="111"/>
                    <a:pt x="96" y="111"/>
                    <a:pt x="96" y="111"/>
                  </a:cubicBezTo>
                  <a:cubicBezTo>
                    <a:pt x="96" y="114"/>
                    <a:pt x="97" y="118"/>
                    <a:pt x="97" y="121"/>
                  </a:cubicBezTo>
                  <a:cubicBezTo>
                    <a:pt x="97" y="121"/>
                    <a:pt x="97" y="121"/>
                    <a:pt x="97" y="121"/>
                  </a:cubicBezTo>
                  <a:cubicBezTo>
                    <a:pt x="98" y="123"/>
                    <a:pt x="97" y="126"/>
                    <a:pt x="96" y="127"/>
                  </a:cubicBezTo>
                  <a:cubicBezTo>
                    <a:pt x="96" y="127"/>
                    <a:pt x="96" y="127"/>
                    <a:pt x="96" y="127"/>
                  </a:cubicBezTo>
                  <a:cubicBezTo>
                    <a:pt x="94" y="129"/>
                    <a:pt x="92" y="130"/>
                    <a:pt x="90" y="130"/>
                  </a:cubicBezTo>
                  <a:cubicBezTo>
                    <a:pt x="90" y="130"/>
                    <a:pt x="90" y="130"/>
                    <a:pt x="90" y="130"/>
                  </a:cubicBezTo>
                  <a:cubicBezTo>
                    <a:pt x="49" y="131"/>
                    <a:pt x="16" y="164"/>
                    <a:pt x="16" y="205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6" y="227"/>
                    <a:pt x="25" y="247"/>
                    <a:pt x="40" y="260"/>
                  </a:cubicBezTo>
                  <a:cubicBezTo>
                    <a:pt x="40" y="260"/>
                    <a:pt x="40" y="260"/>
                    <a:pt x="40" y="260"/>
                  </a:cubicBezTo>
                  <a:cubicBezTo>
                    <a:pt x="43" y="263"/>
                    <a:pt x="43" y="266"/>
                    <a:pt x="42" y="269"/>
                  </a:cubicBezTo>
                  <a:cubicBezTo>
                    <a:pt x="42" y="269"/>
                    <a:pt x="42" y="269"/>
                    <a:pt x="42" y="269"/>
                  </a:cubicBezTo>
                  <a:cubicBezTo>
                    <a:pt x="40" y="275"/>
                    <a:pt x="39" y="282"/>
                    <a:pt x="39" y="288"/>
                  </a:cubicBezTo>
                  <a:cubicBezTo>
                    <a:pt x="39" y="288"/>
                    <a:pt x="39" y="288"/>
                    <a:pt x="39" y="288"/>
                  </a:cubicBezTo>
                  <a:cubicBezTo>
                    <a:pt x="39" y="318"/>
                    <a:pt x="62" y="341"/>
                    <a:pt x="91" y="341"/>
                  </a:cubicBezTo>
                  <a:cubicBezTo>
                    <a:pt x="91" y="341"/>
                    <a:pt x="91" y="341"/>
                    <a:pt x="91" y="341"/>
                  </a:cubicBezTo>
                  <a:cubicBezTo>
                    <a:pt x="99" y="341"/>
                    <a:pt x="106" y="340"/>
                    <a:pt x="112" y="337"/>
                  </a:cubicBezTo>
                  <a:cubicBezTo>
                    <a:pt x="112" y="337"/>
                    <a:pt x="112" y="337"/>
                    <a:pt x="112" y="337"/>
                  </a:cubicBezTo>
                  <a:cubicBezTo>
                    <a:pt x="114" y="336"/>
                    <a:pt x="116" y="336"/>
                    <a:pt x="118" y="337"/>
                  </a:cubicBezTo>
                  <a:cubicBezTo>
                    <a:pt x="118" y="337"/>
                    <a:pt x="118" y="337"/>
                    <a:pt x="118" y="337"/>
                  </a:cubicBezTo>
                  <a:cubicBezTo>
                    <a:pt x="120" y="338"/>
                    <a:pt x="122" y="339"/>
                    <a:pt x="123" y="341"/>
                  </a:cubicBezTo>
                  <a:cubicBezTo>
                    <a:pt x="123" y="341"/>
                    <a:pt x="123" y="341"/>
                    <a:pt x="123" y="341"/>
                  </a:cubicBezTo>
                  <a:cubicBezTo>
                    <a:pt x="132" y="366"/>
                    <a:pt x="156" y="383"/>
                    <a:pt x="184" y="383"/>
                  </a:cubicBezTo>
                  <a:cubicBezTo>
                    <a:pt x="184" y="383"/>
                    <a:pt x="184" y="383"/>
                    <a:pt x="184" y="383"/>
                  </a:cubicBezTo>
                  <a:cubicBezTo>
                    <a:pt x="206" y="383"/>
                    <a:pt x="225" y="373"/>
                    <a:pt x="237" y="357"/>
                  </a:cubicBezTo>
                  <a:cubicBezTo>
                    <a:pt x="237" y="357"/>
                    <a:pt x="237" y="357"/>
                    <a:pt x="237" y="357"/>
                  </a:cubicBezTo>
                  <a:cubicBezTo>
                    <a:pt x="238" y="355"/>
                    <a:pt x="240" y="354"/>
                    <a:pt x="242" y="353"/>
                  </a:cubicBezTo>
                  <a:cubicBezTo>
                    <a:pt x="242" y="353"/>
                    <a:pt x="242" y="353"/>
                    <a:pt x="242" y="353"/>
                  </a:cubicBezTo>
                  <a:cubicBezTo>
                    <a:pt x="244" y="353"/>
                    <a:pt x="246" y="354"/>
                    <a:pt x="248" y="355"/>
                  </a:cubicBezTo>
                  <a:cubicBezTo>
                    <a:pt x="248" y="355"/>
                    <a:pt x="248" y="355"/>
                    <a:pt x="248" y="355"/>
                  </a:cubicBezTo>
                  <a:cubicBezTo>
                    <a:pt x="259" y="364"/>
                    <a:pt x="273" y="369"/>
                    <a:pt x="288" y="369"/>
                  </a:cubicBezTo>
                  <a:cubicBezTo>
                    <a:pt x="288" y="369"/>
                    <a:pt x="288" y="369"/>
                    <a:pt x="288" y="369"/>
                  </a:cubicBezTo>
                  <a:cubicBezTo>
                    <a:pt x="312" y="369"/>
                    <a:pt x="333" y="356"/>
                    <a:pt x="344" y="338"/>
                  </a:cubicBezTo>
                  <a:cubicBezTo>
                    <a:pt x="344" y="338"/>
                    <a:pt x="344" y="338"/>
                    <a:pt x="344" y="338"/>
                  </a:cubicBezTo>
                  <a:cubicBezTo>
                    <a:pt x="345" y="336"/>
                    <a:pt x="347" y="334"/>
                    <a:pt x="350" y="334"/>
                  </a:cubicBezTo>
                  <a:cubicBezTo>
                    <a:pt x="350" y="334"/>
                    <a:pt x="350" y="334"/>
                    <a:pt x="350" y="334"/>
                  </a:cubicBezTo>
                  <a:cubicBezTo>
                    <a:pt x="352" y="334"/>
                    <a:pt x="354" y="334"/>
                    <a:pt x="356" y="336"/>
                  </a:cubicBezTo>
                  <a:cubicBezTo>
                    <a:pt x="356" y="336"/>
                    <a:pt x="356" y="336"/>
                    <a:pt x="356" y="336"/>
                  </a:cubicBezTo>
                  <a:cubicBezTo>
                    <a:pt x="367" y="344"/>
                    <a:pt x="380" y="349"/>
                    <a:pt x="395" y="349"/>
                  </a:cubicBezTo>
                  <a:cubicBezTo>
                    <a:pt x="395" y="349"/>
                    <a:pt x="395" y="349"/>
                    <a:pt x="395" y="349"/>
                  </a:cubicBezTo>
                  <a:cubicBezTo>
                    <a:pt x="428" y="349"/>
                    <a:pt x="455" y="322"/>
                    <a:pt x="455" y="289"/>
                  </a:cubicBezTo>
                  <a:cubicBezTo>
                    <a:pt x="455" y="289"/>
                    <a:pt x="455" y="289"/>
                    <a:pt x="455" y="289"/>
                  </a:cubicBezTo>
                  <a:cubicBezTo>
                    <a:pt x="455" y="289"/>
                    <a:pt x="455" y="288"/>
                    <a:pt x="455" y="288"/>
                  </a:cubicBezTo>
                  <a:cubicBezTo>
                    <a:pt x="455" y="288"/>
                    <a:pt x="455" y="288"/>
                    <a:pt x="455" y="288"/>
                  </a:cubicBezTo>
                  <a:cubicBezTo>
                    <a:pt x="455" y="284"/>
                    <a:pt x="458" y="280"/>
                    <a:pt x="462" y="280"/>
                  </a:cubicBezTo>
                  <a:cubicBezTo>
                    <a:pt x="462" y="280"/>
                    <a:pt x="462" y="280"/>
                    <a:pt x="462" y="280"/>
                  </a:cubicBezTo>
                  <a:cubicBezTo>
                    <a:pt x="487" y="276"/>
                    <a:pt x="506" y="255"/>
                    <a:pt x="506" y="229"/>
                  </a:cubicBezTo>
                  <a:cubicBezTo>
                    <a:pt x="506" y="229"/>
                    <a:pt x="506" y="229"/>
                    <a:pt x="506" y="229"/>
                  </a:cubicBezTo>
                  <a:cubicBezTo>
                    <a:pt x="506" y="203"/>
                    <a:pt x="486" y="181"/>
                    <a:pt x="460" y="178"/>
                  </a:cubicBezTo>
                  <a:cubicBezTo>
                    <a:pt x="460" y="178"/>
                    <a:pt x="460" y="178"/>
                    <a:pt x="460" y="178"/>
                  </a:cubicBezTo>
                  <a:cubicBezTo>
                    <a:pt x="458" y="178"/>
                    <a:pt x="456" y="177"/>
                    <a:pt x="455" y="175"/>
                  </a:cubicBezTo>
                  <a:cubicBezTo>
                    <a:pt x="455" y="175"/>
                    <a:pt x="455" y="175"/>
                    <a:pt x="455" y="175"/>
                  </a:cubicBezTo>
                  <a:cubicBezTo>
                    <a:pt x="453" y="173"/>
                    <a:pt x="453" y="171"/>
                    <a:pt x="453" y="169"/>
                  </a:cubicBezTo>
                  <a:cubicBezTo>
                    <a:pt x="453" y="169"/>
                    <a:pt x="453" y="169"/>
                    <a:pt x="453" y="169"/>
                  </a:cubicBezTo>
                  <a:cubicBezTo>
                    <a:pt x="454" y="165"/>
                    <a:pt x="454" y="162"/>
                    <a:pt x="454" y="158"/>
                  </a:cubicBezTo>
                  <a:cubicBezTo>
                    <a:pt x="454" y="158"/>
                    <a:pt x="454" y="158"/>
                    <a:pt x="454" y="158"/>
                  </a:cubicBezTo>
                  <a:cubicBezTo>
                    <a:pt x="454" y="143"/>
                    <a:pt x="449" y="130"/>
                    <a:pt x="442" y="119"/>
                  </a:cubicBezTo>
                  <a:cubicBezTo>
                    <a:pt x="442" y="119"/>
                    <a:pt x="442" y="119"/>
                    <a:pt x="442" y="119"/>
                  </a:cubicBezTo>
                  <a:cubicBezTo>
                    <a:pt x="439" y="115"/>
                    <a:pt x="440" y="110"/>
                    <a:pt x="444" y="107"/>
                  </a:cubicBezTo>
                  <a:cubicBezTo>
                    <a:pt x="444" y="107"/>
                    <a:pt x="444" y="107"/>
                    <a:pt x="444" y="107"/>
                  </a:cubicBezTo>
                  <a:cubicBezTo>
                    <a:pt x="448" y="105"/>
                    <a:pt x="453" y="106"/>
                    <a:pt x="455" y="110"/>
                  </a:cubicBezTo>
                  <a:cubicBezTo>
                    <a:pt x="455" y="110"/>
                    <a:pt x="455" y="110"/>
                    <a:pt x="455" y="110"/>
                  </a:cubicBezTo>
                  <a:cubicBezTo>
                    <a:pt x="464" y="123"/>
                    <a:pt x="470" y="140"/>
                    <a:pt x="470" y="158"/>
                  </a:cubicBezTo>
                  <a:cubicBezTo>
                    <a:pt x="470" y="158"/>
                    <a:pt x="470" y="158"/>
                    <a:pt x="470" y="158"/>
                  </a:cubicBezTo>
                  <a:cubicBezTo>
                    <a:pt x="470" y="160"/>
                    <a:pt x="470" y="162"/>
                    <a:pt x="470" y="164"/>
                  </a:cubicBezTo>
                  <a:cubicBezTo>
                    <a:pt x="470" y="164"/>
                    <a:pt x="470" y="164"/>
                    <a:pt x="470" y="164"/>
                  </a:cubicBezTo>
                  <a:cubicBezTo>
                    <a:pt x="500" y="170"/>
                    <a:pt x="522" y="197"/>
                    <a:pt x="522" y="229"/>
                  </a:cubicBezTo>
                  <a:cubicBezTo>
                    <a:pt x="522" y="229"/>
                    <a:pt x="522" y="229"/>
                    <a:pt x="522" y="229"/>
                  </a:cubicBezTo>
                  <a:cubicBezTo>
                    <a:pt x="522" y="261"/>
                    <a:pt x="500" y="287"/>
                    <a:pt x="471" y="294"/>
                  </a:cubicBezTo>
                  <a:cubicBezTo>
                    <a:pt x="471" y="294"/>
                    <a:pt x="471" y="294"/>
                    <a:pt x="471" y="294"/>
                  </a:cubicBezTo>
                  <a:cubicBezTo>
                    <a:pt x="468" y="334"/>
                    <a:pt x="435" y="365"/>
                    <a:pt x="395" y="365"/>
                  </a:cubicBezTo>
                  <a:cubicBezTo>
                    <a:pt x="395" y="365"/>
                    <a:pt x="395" y="365"/>
                    <a:pt x="395" y="365"/>
                  </a:cubicBezTo>
                  <a:cubicBezTo>
                    <a:pt x="379" y="365"/>
                    <a:pt x="365" y="361"/>
                    <a:pt x="353" y="353"/>
                  </a:cubicBezTo>
                  <a:cubicBezTo>
                    <a:pt x="353" y="353"/>
                    <a:pt x="353" y="353"/>
                    <a:pt x="353" y="353"/>
                  </a:cubicBezTo>
                  <a:cubicBezTo>
                    <a:pt x="338" y="372"/>
                    <a:pt x="315" y="385"/>
                    <a:pt x="288" y="385"/>
                  </a:cubicBezTo>
                  <a:cubicBezTo>
                    <a:pt x="288" y="385"/>
                    <a:pt x="288" y="385"/>
                    <a:pt x="288" y="385"/>
                  </a:cubicBezTo>
                  <a:cubicBezTo>
                    <a:pt x="272" y="385"/>
                    <a:pt x="257" y="380"/>
                    <a:pt x="245" y="372"/>
                  </a:cubicBezTo>
                  <a:cubicBezTo>
                    <a:pt x="245" y="372"/>
                    <a:pt x="245" y="372"/>
                    <a:pt x="245" y="372"/>
                  </a:cubicBezTo>
                  <a:cubicBezTo>
                    <a:pt x="230" y="389"/>
                    <a:pt x="208" y="399"/>
                    <a:pt x="184" y="399"/>
                  </a:cubicBezTo>
                  <a:cubicBezTo>
                    <a:pt x="184" y="399"/>
                    <a:pt x="184" y="399"/>
                    <a:pt x="184" y="399"/>
                  </a:cubicBezTo>
                  <a:cubicBezTo>
                    <a:pt x="152" y="399"/>
                    <a:pt x="125" y="381"/>
                    <a:pt x="111" y="3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93" name="Text Box 35"/>
            <p:cNvSpPr txBox="1">
              <a:spLocks noChangeAspect="1" noChangeArrowheads="1"/>
            </p:cNvSpPr>
            <p:nvPr/>
          </p:nvSpPr>
          <p:spPr bwMode="auto">
            <a:xfrm>
              <a:off x="9508328" y="5735555"/>
              <a:ext cx="1808286" cy="6586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rIns="0" anchor="ctr">
              <a:spAutoFit/>
            </a:bodyPr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800"/>
                <a:t>Data Network </a:t>
              </a:r>
              <a:endParaRPr lang="en-US" altLang="en-US" sz="2000"/>
            </a:p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/>
                <a:t>(e.g. operator </a:t>
              </a:r>
            </a:p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/>
                <a:t>or Internet)</a:t>
              </a:r>
            </a:p>
          </p:txBody>
        </p:sp>
      </p:grpSp>
      <p:sp>
        <p:nvSpPr>
          <p:cNvPr id="159" name="Text Box 144"/>
          <p:cNvSpPr txBox="1">
            <a:spLocks noChangeAspect="1" noChangeArrowheads="1"/>
          </p:cNvSpPr>
          <p:nvPr/>
        </p:nvSpPr>
        <p:spPr bwMode="auto">
          <a:xfrm>
            <a:off x="5434737" y="2467877"/>
            <a:ext cx="791710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nrf</a:t>
            </a:r>
            <a:endParaRPr lang="en-US" altLang="en-US" sz="1400" dirty="0"/>
          </a:p>
        </p:txBody>
      </p:sp>
      <p:sp>
        <p:nvSpPr>
          <p:cNvPr id="160" name="Content Placeholder 3"/>
          <p:cNvSpPr txBox="1">
            <a:spLocks/>
          </p:cNvSpPr>
          <p:nvPr/>
        </p:nvSpPr>
        <p:spPr>
          <a:xfrm>
            <a:off x="286105" y="1157988"/>
            <a:ext cx="3916810" cy="3188478"/>
          </a:xfrm>
          <a:prstGeom prst="rect">
            <a:avLst/>
          </a:prstGeom>
        </p:spPr>
        <p:txBody>
          <a:bodyPr/>
          <a:lstStyle>
            <a:lvl1pPr marL="176213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A9D4"/>
              </a:buClr>
              <a:buFont typeface="Arial" charset="0"/>
              <a:buChar char="›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3400" indent="-1778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92175" indent="-1793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92CCE5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3pPr>
            <a:lvl4pPr marL="125253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-"/>
              <a:defRPr sz="2000">
                <a:solidFill>
                  <a:schemeClr val="tx1"/>
                </a:solidFill>
                <a:latin typeface="+mn-lt"/>
              </a:defRPr>
            </a:lvl4pPr>
            <a:lvl5pPr marL="16144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5pPr>
            <a:lvl6pPr marL="20716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6pPr>
            <a:lvl7pPr marL="25288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7pPr>
            <a:lvl8pPr marL="2986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8pPr>
            <a:lvl9pPr marL="34432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itchFamily="2" charset="0"/>
              <a:buChar char="›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kern="0" dirty="0"/>
              <a:t>5G</a:t>
            </a:r>
            <a:r>
              <a:rPr lang="hu-HU" sz="1800" kern="0" dirty="0"/>
              <a:t> </a:t>
            </a:r>
            <a:r>
              <a:rPr lang="en-US" sz="1800" kern="0" dirty="0"/>
              <a:t>C</a:t>
            </a:r>
            <a:r>
              <a:rPr lang="hu-HU" sz="1800" kern="0" dirty="0"/>
              <a:t>ore</a:t>
            </a:r>
            <a:r>
              <a:rPr lang="en-US" sz="1800" kern="0" dirty="0"/>
              <a:t> </a:t>
            </a:r>
            <a:r>
              <a:rPr lang="hu-HU" sz="1800" kern="0" dirty="0"/>
              <a:t>(5GC</a:t>
            </a:r>
            <a:r>
              <a:rPr lang="en-US" sz="1800" kern="0" dirty="0"/>
              <a:t>) s</a:t>
            </a:r>
            <a:r>
              <a:rPr lang="hu-HU" sz="1800" kern="0" dirty="0"/>
              <a:t>zervíz orientált interfészeket definiál a kontrol síkban (a korábbi pont-pont interfészekkel szemben)</a:t>
            </a:r>
            <a:endParaRPr lang="en-US" sz="1800" kern="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hu-HU" sz="1800" kern="0" dirty="0"/>
              <a:t>A funkciók új felosztása a  kontrol/adat síkok között</a:t>
            </a:r>
            <a:br>
              <a:rPr lang="hu-HU" sz="1800" kern="0" dirty="0"/>
            </a:br>
            <a:r>
              <a:rPr lang="hu-HU" sz="1800" kern="0" dirty="0"/>
              <a:t>Példa:</a:t>
            </a:r>
            <a:r>
              <a:rPr lang="en-US" sz="1800" kern="0" dirty="0"/>
              <a:t> SMF/UPF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hu-HU" sz="1800" kern="0" dirty="0"/>
              <a:t>„</a:t>
            </a:r>
            <a:r>
              <a:rPr lang="en-US" sz="1800" kern="0" dirty="0"/>
              <a:t>N</a:t>
            </a:r>
            <a:r>
              <a:rPr lang="hu-HU" sz="1800" kern="0" dirty="0"/>
              <a:t>ew Generation (N</a:t>
            </a:r>
            <a:r>
              <a:rPr lang="en-US" sz="1800" kern="0" dirty="0"/>
              <a:t>G</a:t>
            </a:r>
            <a:r>
              <a:rPr lang="hu-HU" sz="1800" kern="0" dirty="0"/>
              <a:t>)</a:t>
            </a:r>
            <a:r>
              <a:rPr lang="en-US" sz="1800" kern="0" dirty="0"/>
              <a:t> RAN</a:t>
            </a:r>
            <a:r>
              <a:rPr lang="hu-HU" sz="1800" kern="0" dirty="0"/>
              <a:t>”</a:t>
            </a:r>
            <a:r>
              <a:rPr lang="en-US" sz="1800" kern="0" dirty="0"/>
              <a:t> </a:t>
            </a:r>
            <a:r>
              <a:rPr lang="hu-HU" sz="1800" kern="0" dirty="0"/>
              <a:t>architektúra és „New Radio</a:t>
            </a:r>
            <a:r>
              <a:rPr lang="en-US" sz="1800" kern="0" dirty="0"/>
              <a:t> </a:t>
            </a:r>
            <a:r>
              <a:rPr lang="hu-HU" sz="1800" kern="0" dirty="0"/>
              <a:t>(</a:t>
            </a:r>
            <a:r>
              <a:rPr lang="en-US" sz="1800" kern="0" dirty="0"/>
              <a:t>NR</a:t>
            </a:r>
            <a:r>
              <a:rPr lang="hu-HU" sz="1800" kern="0" dirty="0"/>
              <a:t>)”</a:t>
            </a:r>
            <a:r>
              <a:rPr lang="en-US" sz="1800" kern="0" dirty="0"/>
              <a:t> </a:t>
            </a:r>
            <a:r>
              <a:rPr lang="hu-HU" sz="1800" kern="0" dirty="0"/>
              <a:t>rádiós interfész </a:t>
            </a:r>
            <a:endParaRPr lang="en-US" sz="1800" kern="0" dirty="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 kern="0" dirty="0"/>
          </a:p>
        </p:txBody>
      </p:sp>
      <p:sp>
        <p:nvSpPr>
          <p:cNvPr id="162" name="Oval 161"/>
          <p:cNvSpPr/>
          <p:nvPr/>
        </p:nvSpPr>
        <p:spPr bwMode="auto">
          <a:xfrm>
            <a:off x="5437789" y="2510268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87" name="Text Box 144"/>
          <p:cNvSpPr txBox="1">
            <a:spLocks noChangeAspect="1" noChangeArrowheads="1"/>
          </p:cNvSpPr>
          <p:nvPr/>
        </p:nvSpPr>
        <p:spPr bwMode="auto">
          <a:xfrm>
            <a:off x="8132577" y="2484046"/>
            <a:ext cx="76786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nssf</a:t>
            </a:r>
            <a:endParaRPr lang="en-US" altLang="en-US" sz="1400" dirty="0"/>
          </a:p>
        </p:txBody>
      </p:sp>
      <p:cxnSp>
        <p:nvCxnSpPr>
          <p:cNvPr id="182" name="Straight Connector 133"/>
          <p:cNvCxnSpPr>
            <a:cxnSpLocks/>
            <a:stCxn id="25648" idx="1"/>
          </p:cNvCxnSpPr>
          <p:nvPr/>
        </p:nvCxnSpPr>
        <p:spPr bwMode="auto">
          <a:xfrm flipH="1">
            <a:off x="1524270" y="4026154"/>
            <a:ext cx="4766311" cy="1013106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6" name="Straight Connector 205"/>
          <p:cNvCxnSpPr>
            <a:cxnSpLocks/>
          </p:cNvCxnSpPr>
          <p:nvPr/>
        </p:nvCxnSpPr>
        <p:spPr bwMode="auto">
          <a:xfrm>
            <a:off x="4656727" y="2918849"/>
            <a:ext cx="5756132" cy="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7" name="Straight Connector 206"/>
          <p:cNvCxnSpPr>
            <a:cxnSpLocks/>
          </p:cNvCxnSpPr>
          <p:nvPr/>
        </p:nvCxnSpPr>
        <p:spPr bwMode="auto">
          <a:xfrm>
            <a:off x="5511236" y="2385545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3" name="Straight Connector 182">
            <a:extLst>
              <a:ext uri="{FF2B5EF4-FFF2-40B4-BE49-F238E27FC236}">
                <a16:creationId xmlns:a16="http://schemas.microsoft.com/office/drawing/2014/main" id="{4F2D51B4-76BA-4876-BC2C-5BE86D796F80}"/>
              </a:ext>
            </a:extLst>
          </p:cNvPr>
          <p:cNvCxnSpPr>
            <a:cxnSpLocks/>
          </p:cNvCxnSpPr>
          <p:nvPr/>
        </p:nvCxnSpPr>
        <p:spPr bwMode="auto">
          <a:xfrm>
            <a:off x="4665312" y="2370248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5D087E2-57E1-4FDD-86C1-1CD2D0141E25}"/>
              </a:ext>
            </a:extLst>
          </p:cNvPr>
          <p:cNvCxnSpPr>
            <a:cxnSpLocks/>
          </p:cNvCxnSpPr>
          <p:nvPr/>
        </p:nvCxnSpPr>
        <p:spPr bwMode="auto">
          <a:xfrm>
            <a:off x="6381828" y="2378234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9E0A79E2-9639-4D8B-9CCD-EFD04D6C840C}"/>
              </a:ext>
            </a:extLst>
          </p:cNvPr>
          <p:cNvCxnSpPr>
            <a:cxnSpLocks/>
          </p:cNvCxnSpPr>
          <p:nvPr/>
        </p:nvCxnSpPr>
        <p:spPr bwMode="auto">
          <a:xfrm>
            <a:off x="6579611" y="2918849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24B13A1E-BAFB-41C7-A13E-6ABCB396189F}"/>
              </a:ext>
            </a:extLst>
          </p:cNvPr>
          <p:cNvCxnSpPr>
            <a:cxnSpLocks/>
          </p:cNvCxnSpPr>
          <p:nvPr/>
        </p:nvCxnSpPr>
        <p:spPr bwMode="auto">
          <a:xfrm>
            <a:off x="8033728" y="2904116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9FA36852-A094-4EF5-B7CD-8FCF83270AA5}"/>
              </a:ext>
            </a:extLst>
          </p:cNvPr>
          <p:cNvCxnSpPr>
            <a:cxnSpLocks/>
          </p:cNvCxnSpPr>
          <p:nvPr/>
        </p:nvCxnSpPr>
        <p:spPr bwMode="auto">
          <a:xfrm>
            <a:off x="7249231" y="2370597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8" name="Straight Connector 217">
            <a:extLst>
              <a:ext uri="{FF2B5EF4-FFF2-40B4-BE49-F238E27FC236}">
                <a16:creationId xmlns:a16="http://schemas.microsoft.com/office/drawing/2014/main" id="{2CC930F1-8541-408E-BC98-2B5FD813A92A}"/>
              </a:ext>
            </a:extLst>
          </p:cNvPr>
          <p:cNvCxnSpPr>
            <a:cxnSpLocks/>
          </p:cNvCxnSpPr>
          <p:nvPr/>
        </p:nvCxnSpPr>
        <p:spPr bwMode="auto">
          <a:xfrm>
            <a:off x="8155913" y="2362816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9" name="Straight Connector 218">
            <a:extLst>
              <a:ext uri="{FF2B5EF4-FFF2-40B4-BE49-F238E27FC236}">
                <a16:creationId xmlns:a16="http://schemas.microsoft.com/office/drawing/2014/main" id="{03A13CB3-F220-4B1A-82B5-9FC97C17E4DE}"/>
              </a:ext>
            </a:extLst>
          </p:cNvPr>
          <p:cNvCxnSpPr>
            <a:cxnSpLocks/>
          </p:cNvCxnSpPr>
          <p:nvPr/>
        </p:nvCxnSpPr>
        <p:spPr bwMode="auto">
          <a:xfrm>
            <a:off x="8979443" y="2370597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6E67CE8A-4CEA-4A5F-8108-8E4B2F99ADD1}"/>
              </a:ext>
            </a:extLst>
          </p:cNvPr>
          <p:cNvCxnSpPr>
            <a:cxnSpLocks/>
          </p:cNvCxnSpPr>
          <p:nvPr/>
        </p:nvCxnSpPr>
        <p:spPr bwMode="auto">
          <a:xfrm>
            <a:off x="10412859" y="2385545"/>
            <a:ext cx="7186" cy="478160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1" name="Oval 220">
            <a:extLst>
              <a:ext uri="{FF2B5EF4-FFF2-40B4-BE49-F238E27FC236}">
                <a16:creationId xmlns:a16="http://schemas.microsoft.com/office/drawing/2014/main" id="{FCE6296D-6E58-4A49-BC1E-FC7ABD71C7AD}"/>
              </a:ext>
            </a:extLst>
          </p:cNvPr>
          <p:cNvSpPr/>
          <p:nvPr/>
        </p:nvSpPr>
        <p:spPr bwMode="auto">
          <a:xfrm>
            <a:off x="4592501" y="2501674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2" name="Oval 221">
            <a:extLst>
              <a:ext uri="{FF2B5EF4-FFF2-40B4-BE49-F238E27FC236}">
                <a16:creationId xmlns:a16="http://schemas.microsoft.com/office/drawing/2014/main" id="{4CCC064F-1B24-4B35-A185-BD0F41104C43}"/>
              </a:ext>
            </a:extLst>
          </p:cNvPr>
          <p:cNvSpPr/>
          <p:nvPr/>
        </p:nvSpPr>
        <p:spPr bwMode="auto">
          <a:xfrm>
            <a:off x="6321399" y="2517452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3" name="Oval 222">
            <a:extLst>
              <a:ext uri="{FF2B5EF4-FFF2-40B4-BE49-F238E27FC236}">
                <a16:creationId xmlns:a16="http://schemas.microsoft.com/office/drawing/2014/main" id="{70DB4543-DEAD-455C-9A02-B8A366DFFDA9}"/>
              </a:ext>
            </a:extLst>
          </p:cNvPr>
          <p:cNvSpPr/>
          <p:nvPr/>
        </p:nvSpPr>
        <p:spPr bwMode="auto">
          <a:xfrm>
            <a:off x="7183229" y="2509886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4" name="Oval 223">
            <a:extLst>
              <a:ext uri="{FF2B5EF4-FFF2-40B4-BE49-F238E27FC236}">
                <a16:creationId xmlns:a16="http://schemas.microsoft.com/office/drawing/2014/main" id="{5418E554-AD14-4575-965A-4F3EDD282F3C}"/>
              </a:ext>
            </a:extLst>
          </p:cNvPr>
          <p:cNvSpPr/>
          <p:nvPr/>
        </p:nvSpPr>
        <p:spPr bwMode="auto">
          <a:xfrm>
            <a:off x="8090053" y="2501933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5" name="Oval 224">
            <a:extLst>
              <a:ext uri="{FF2B5EF4-FFF2-40B4-BE49-F238E27FC236}">
                <a16:creationId xmlns:a16="http://schemas.microsoft.com/office/drawing/2014/main" id="{C350BDE5-D4C9-41FF-BC81-E4C3AAED5F21}"/>
              </a:ext>
            </a:extLst>
          </p:cNvPr>
          <p:cNvSpPr/>
          <p:nvPr/>
        </p:nvSpPr>
        <p:spPr bwMode="auto">
          <a:xfrm>
            <a:off x="8911000" y="2495499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6" name="Oval 225">
            <a:extLst>
              <a:ext uri="{FF2B5EF4-FFF2-40B4-BE49-F238E27FC236}">
                <a16:creationId xmlns:a16="http://schemas.microsoft.com/office/drawing/2014/main" id="{D7041F0B-D7DE-4322-931A-0B8892EBFC36}"/>
              </a:ext>
            </a:extLst>
          </p:cNvPr>
          <p:cNvSpPr/>
          <p:nvPr/>
        </p:nvSpPr>
        <p:spPr bwMode="auto">
          <a:xfrm>
            <a:off x="10352972" y="2510268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7" name="Oval 226">
            <a:extLst>
              <a:ext uri="{FF2B5EF4-FFF2-40B4-BE49-F238E27FC236}">
                <a16:creationId xmlns:a16="http://schemas.microsoft.com/office/drawing/2014/main" id="{70ED5429-6FED-4C59-B6EB-99282424AF3E}"/>
              </a:ext>
            </a:extLst>
          </p:cNvPr>
          <p:cNvSpPr/>
          <p:nvPr/>
        </p:nvSpPr>
        <p:spPr bwMode="auto">
          <a:xfrm>
            <a:off x="6517533" y="3088718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id="{DF74C6DF-E183-42D2-8977-A32BDDC25BB1}"/>
              </a:ext>
            </a:extLst>
          </p:cNvPr>
          <p:cNvSpPr/>
          <p:nvPr/>
        </p:nvSpPr>
        <p:spPr bwMode="auto">
          <a:xfrm>
            <a:off x="7968103" y="3080811"/>
            <a:ext cx="145622" cy="140438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45720" rIns="72000" bIns="45720" numCol="1" rtlCol="0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229" name="Text Box 144">
            <a:extLst>
              <a:ext uri="{FF2B5EF4-FFF2-40B4-BE49-F238E27FC236}">
                <a16:creationId xmlns:a16="http://schemas.microsoft.com/office/drawing/2014/main" id="{BF7261D6-B387-487A-B9E1-CBB5D6348C9B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8955503" y="2477786"/>
            <a:ext cx="767865" cy="17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spcBef>
                <a:spcPct val="20000"/>
              </a:spcBef>
              <a:buClr>
                <a:srgbClr val="00A9D4"/>
              </a:buClr>
              <a:buFont typeface="Arial" panose="020B0604020202020204" pitchFamily="34" charset="0"/>
              <a:buChar char="›"/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rgbClr val="92CCE5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-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Ericsson Capital TT" panose="02000503000000020004" pitchFamily="2" charset="0"/>
              <a:buChar char="›"/>
              <a:defRPr sz="20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lnSpc>
                <a:spcPct val="80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400" dirty="0" err="1"/>
              <a:t>Nnef</a:t>
            </a:r>
            <a:endParaRPr lang="en-US" altLang="en-US" sz="1400" dirty="0"/>
          </a:p>
        </p:txBody>
      </p:sp>
      <p:grpSp>
        <p:nvGrpSpPr>
          <p:cNvPr id="25638" name="Group 159"/>
          <p:cNvGrpSpPr>
            <a:grpSpLocks/>
          </p:cNvGrpSpPr>
          <p:nvPr/>
        </p:nvGrpSpPr>
        <p:grpSpPr bwMode="auto">
          <a:xfrm>
            <a:off x="6259782" y="3363845"/>
            <a:ext cx="715834" cy="891978"/>
            <a:chOff x="4338871" y="2725624"/>
            <a:chExt cx="1199053" cy="1626215"/>
          </a:xfrm>
        </p:grpSpPr>
        <p:sp>
          <p:nvSpPr>
            <p:cNvPr id="25645" name="Rectangle 241"/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46" name="AutoShape 238"/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47" name="Oval 239"/>
            <p:cNvSpPr>
              <a:spLocks noChangeAspect="1" noChangeArrowheads="1"/>
            </p:cNvSpPr>
            <p:nvPr/>
          </p:nvSpPr>
          <p:spPr bwMode="auto">
            <a:xfrm>
              <a:off x="4354045" y="2746996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48" name="Text Box 240"/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AMF</a:t>
              </a:r>
            </a:p>
          </p:txBody>
        </p:sp>
        <p:sp>
          <p:nvSpPr>
            <p:cNvPr id="25649" name="Rectangle 241"/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50" name="Freeform 11"/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5617" name="Group 108"/>
          <p:cNvGrpSpPr>
            <a:grpSpLocks/>
          </p:cNvGrpSpPr>
          <p:nvPr/>
        </p:nvGrpSpPr>
        <p:grpSpPr bwMode="auto">
          <a:xfrm>
            <a:off x="7705996" y="3336848"/>
            <a:ext cx="717402" cy="920561"/>
            <a:chOff x="4338871" y="2725624"/>
            <a:chExt cx="1199053" cy="1626215"/>
          </a:xfrm>
        </p:grpSpPr>
        <p:sp>
          <p:nvSpPr>
            <p:cNvPr id="25675" name="Rectangle 241"/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76" name="AutoShape 238"/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77" name="Oval 239"/>
            <p:cNvSpPr>
              <a:spLocks noChangeAspect="1" noChangeArrowheads="1"/>
            </p:cNvSpPr>
            <p:nvPr/>
          </p:nvSpPr>
          <p:spPr bwMode="auto">
            <a:xfrm>
              <a:off x="4354045" y="2746996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78" name="Text Box 240"/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/>
                <a:t>SMF</a:t>
              </a:r>
            </a:p>
          </p:txBody>
        </p:sp>
        <p:sp>
          <p:nvSpPr>
            <p:cNvPr id="25679" name="Rectangle 241"/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80" name="Freeform 11"/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75BCF737-B18D-4550-A049-B3C86BCE6031}"/>
              </a:ext>
            </a:extLst>
          </p:cNvPr>
          <p:cNvCxnSpPr>
            <a:cxnSpLocks/>
            <a:stCxn id="249" idx="2"/>
            <a:endCxn id="255" idx="0"/>
          </p:cNvCxnSpPr>
          <p:nvPr/>
        </p:nvCxnSpPr>
        <p:spPr bwMode="auto">
          <a:xfrm flipH="1">
            <a:off x="5236546" y="5236810"/>
            <a:ext cx="3552" cy="408750"/>
          </a:xfrm>
          <a:prstGeom prst="line">
            <a:avLst/>
          </a:prstGeom>
          <a:noFill/>
          <a:ln w="19050">
            <a:solidFill>
              <a:schemeClr val="accent4">
                <a:lumMod val="50000"/>
              </a:schemeClr>
            </a:solidFill>
            <a:prstDash val="dash"/>
            <a:round/>
            <a:headEnd/>
            <a:tailEnd/>
          </a:ln>
        </p:spPr>
      </p:cxnSp>
      <p:sp>
        <p:nvSpPr>
          <p:cNvPr id="241" name="Text Box 144">
            <a:extLst>
              <a:ext uri="{FF2B5EF4-FFF2-40B4-BE49-F238E27FC236}">
                <a16:creationId xmlns:a16="http://schemas.microsoft.com/office/drawing/2014/main" id="{F3BD60CE-997D-40E3-A14B-552188778257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3061371" y="5884320"/>
            <a:ext cx="49617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400" dirty="0"/>
              <a:t>C2</a:t>
            </a:r>
          </a:p>
        </p:txBody>
      </p:sp>
      <p:sp>
        <p:nvSpPr>
          <p:cNvPr id="242" name="Text Box 144">
            <a:extLst>
              <a:ext uri="{FF2B5EF4-FFF2-40B4-BE49-F238E27FC236}">
                <a16:creationId xmlns:a16="http://schemas.microsoft.com/office/drawing/2014/main" id="{185C1441-42DD-46E8-AF85-6B54CC098FB4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5188212" y="5360002"/>
            <a:ext cx="49617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400" dirty="0"/>
              <a:t>E1</a:t>
            </a:r>
          </a:p>
        </p:txBody>
      </p:sp>
      <p:sp>
        <p:nvSpPr>
          <p:cNvPr id="243" name="Text Box 144">
            <a:extLst>
              <a:ext uri="{FF2B5EF4-FFF2-40B4-BE49-F238E27FC236}">
                <a16:creationId xmlns:a16="http://schemas.microsoft.com/office/drawing/2014/main" id="{0FF6C22D-A01C-4370-8087-5238D0D4D7BF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4091675" y="5113524"/>
            <a:ext cx="49617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400" dirty="0"/>
              <a:t>F1-C</a:t>
            </a:r>
          </a:p>
        </p:txBody>
      </p:sp>
      <p:sp>
        <p:nvSpPr>
          <p:cNvPr id="244" name="Text Box 144">
            <a:extLst>
              <a:ext uri="{FF2B5EF4-FFF2-40B4-BE49-F238E27FC236}">
                <a16:creationId xmlns:a16="http://schemas.microsoft.com/office/drawing/2014/main" id="{FA0D8F05-37C4-448A-B473-38612CE4EFF8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4298749" y="5884320"/>
            <a:ext cx="496178" cy="172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400" dirty="0"/>
              <a:t>F1-U</a:t>
            </a:r>
          </a:p>
        </p:txBody>
      </p:sp>
      <p:grpSp>
        <p:nvGrpSpPr>
          <p:cNvPr id="252" name="Group 98">
            <a:extLst>
              <a:ext uri="{FF2B5EF4-FFF2-40B4-BE49-F238E27FC236}">
                <a16:creationId xmlns:a16="http://schemas.microsoft.com/office/drawing/2014/main" id="{858AC45C-68A4-4C1B-8438-66CA6730CB74}"/>
              </a:ext>
            </a:extLst>
          </p:cNvPr>
          <p:cNvGrpSpPr>
            <a:grpSpLocks/>
          </p:cNvGrpSpPr>
          <p:nvPr/>
        </p:nvGrpSpPr>
        <p:grpSpPr bwMode="auto">
          <a:xfrm>
            <a:off x="4906268" y="5633820"/>
            <a:ext cx="662379" cy="872079"/>
            <a:chOff x="5979156" y="5040856"/>
            <a:chExt cx="1101600" cy="1587600"/>
          </a:xfrm>
        </p:grpSpPr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0619D74C-5ED4-4E56-BEAB-03F5ACDC0A82}"/>
                </a:ext>
              </a:extLst>
            </p:cNvPr>
            <p:cNvCxnSpPr/>
            <p:nvPr/>
          </p:nvCxnSpPr>
          <p:spPr bwMode="auto">
            <a:xfrm flipV="1">
              <a:off x="6195156" y="5424140"/>
              <a:ext cx="0" cy="161383"/>
            </a:xfrm>
            <a:prstGeom prst="line">
              <a:avLst/>
            </a:prstGeom>
            <a:noFill/>
            <a:ln w="9525">
              <a:solidFill>
                <a:schemeClr val="accent4">
                  <a:lumMod val="50000"/>
                </a:schemeClr>
              </a:solidFill>
              <a:prstDash val="dash"/>
              <a:round/>
              <a:headEnd/>
              <a:tailEnd/>
            </a:ln>
          </p:spPr>
        </p:cxnSp>
        <p:sp>
          <p:nvSpPr>
            <p:cNvPr id="254" name="AutoShape 142">
              <a:extLst>
                <a:ext uri="{FF2B5EF4-FFF2-40B4-BE49-F238E27FC236}">
                  <a16:creationId xmlns:a16="http://schemas.microsoft.com/office/drawing/2014/main" id="{10E0B128-C6F6-403C-BD42-6D712FD726D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6000399" y="5492711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5" name="Oval 143">
              <a:extLst>
                <a:ext uri="{FF2B5EF4-FFF2-40B4-BE49-F238E27FC236}">
                  <a16:creationId xmlns:a16="http://schemas.microsoft.com/office/drawing/2014/main" id="{7F5D073D-18C0-4E5D-B81C-C63B13C860D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94330" y="5062228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6" name="Text Box 144">
              <a:extLst>
                <a:ext uri="{FF2B5EF4-FFF2-40B4-BE49-F238E27FC236}">
                  <a16:creationId xmlns:a16="http://schemas.microsoft.com/office/drawing/2014/main" id="{A0502A41-1BE4-47CD-9FE5-C33B8B9AE195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6030746" y="5904877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PPF</a:t>
              </a:r>
            </a:p>
          </p:txBody>
        </p:sp>
        <p:sp>
          <p:nvSpPr>
            <p:cNvPr id="257" name="Rectangle 145">
              <a:extLst>
                <a:ext uri="{FF2B5EF4-FFF2-40B4-BE49-F238E27FC236}">
                  <a16:creationId xmlns:a16="http://schemas.microsoft.com/office/drawing/2014/main" id="{41FC4F57-8207-4475-86AE-4DF106904CD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5979156" y="5040856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8" name="Freeform 11">
              <a:extLst>
                <a:ext uri="{FF2B5EF4-FFF2-40B4-BE49-F238E27FC236}">
                  <a16:creationId xmlns:a16="http://schemas.microsoft.com/office/drawing/2014/main" id="{3C95BD73-D5EA-446A-9B27-32E5F9F6B2B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979156" y="5040856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0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2147483646 h 589"/>
                <a:gd name="T26" fmla="*/ 2147483646 w 410"/>
                <a:gd name="T27" fmla="*/ 2147483646 h 589"/>
                <a:gd name="T28" fmla="*/ 2147483646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2147483646 w 410"/>
                <a:gd name="T71" fmla="*/ 2147483646 h 589"/>
                <a:gd name="T72" fmla="*/ 2147483646 w 410"/>
                <a:gd name="T73" fmla="*/ 2147483646 h 589"/>
                <a:gd name="T74" fmla="*/ 2147483646 w 410"/>
                <a:gd name="T75" fmla="*/ 2147483646 h 589"/>
                <a:gd name="T76" fmla="*/ 2147483646 w 410"/>
                <a:gd name="T77" fmla="*/ 2147483646 h 589"/>
                <a:gd name="T78" fmla="*/ 2147483646 w 410"/>
                <a:gd name="T79" fmla="*/ 2147483646 h 58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10"/>
                <a:gd name="T121" fmla="*/ 0 h 589"/>
                <a:gd name="T122" fmla="*/ 410 w 410"/>
                <a:gd name="T123" fmla="*/ 589 h 58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331" y="160"/>
                  </a:moveTo>
                  <a:cubicBezTo>
                    <a:pt x="300" y="130"/>
                    <a:pt x="300" y="130"/>
                    <a:pt x="300" y="130"/>
                  </a:cubicBezTo>
                  <a:cubicBezTo>
                    <a:pt x="297" y="126"/>
                    <a:pt x="292" y="126"/>
                    <a:pt x="289" y="130"/>
                  </a:cubicBezTo>
                  <a:cubicBezTo>
                    <a:pt x="285" y="133"/>
                    <a:pt x="285" y="138"/>
                    <a:pt x="289" y="141"/>
                  </a:cubicBezTo>
                  <a:cubicBezTo>
                    <a:pt x="306" y="158"/>
                    <a:pt x="306" y="158"/>
                    <a:pt x="306" y="15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7" y="158"/>
                    <a:pt x="154" y="162"/>
                    <a:pt x="154" y="166"/>
                  </a:cubicBezTo>
                  <a:cubicBezTo>
                    <a:pt x="154" y="170"/>
                    <a:pt x="157" y="174"/>
                    <a:pt x="162" y="174"/>
                  </a:cubicBezTo>
                  <a:cubicBezTo>
                    <a:pt x="305" y="174"/>
                    <a:pt x="305" y="174"/>
                    <a:pt x="305" y="174"/>
                  </a:cubicBezTo>
                  <a:cubicBezTo>
                    <a:pt x="289" y="191"/>
                    <a:pt x="289" y="191"/>
                    <a:pt x="289" y="191"/>
                  </a:cubicBezTo>
                  <a:cubicBezTo>
                    <a:pt x="285" y="194"/>
                    <a:pt x="285" y="199"/>
                    <a:pt x="289" y="202"/>
                  </a:cubicBezTo>
                  <a:cubicBezTo>
                    <a:pt x="290" y="204"/>
                    <a:pt x="292" y="205"/>
                    <a:pt x="294" y="205"/>
                  </a:cubicBezTo>
                  <a:cubicBezTo>
                    <a:pt x="296" y="205"/>
                    <a:pt x="298" y="204"/>
                    <a:pt x="300" y="202"/>
                  </a:cubicBezTo>
                  <a:cubicBezTo>
                    <a:pt x="331" y="172"/>
                    <a:pt x="331" y="172"/>
                    <a:pt x="331" y="172"/>
                  </a:cubicBezTo>
                  <a:cubicBezTo>
                    <a:pt x="334" y="168"/>
                    <a:pt x="334" y="163"/>
                    <a:pt x="331" y="160"/>
                  </a:cubicBezTo>
                  <a:moveTo>
                    <a:pt x="80" y="113"/>
                  </a:moveTo>
                  <a:cubicBezTo>
                    <a:pt x="110" y="82"/>
                    <a:pt x="110" y="82"/>
                    <a:pt x="110" y="82"/>
                  </a:cubicBezTo>
                  <a:cubicBezTo>
                    <a:pt x="114" y="79"/>
                    <a:pt x="119" y="79"/>
                    <a:pt x="122" y="82"/>
                  </a:cubicBezTo>
                  <a:cubicBezTo>
                    <a:pt x="125" y="85"/>
                    <a:pt x="125" y="90"/>
                    <a:pt x="122" y="93"/>
                  </a:cubicBezTo>
                  <a:cubicBezTo>
                    <a:pt x="105" y="110"/>
                    <a:pt x="105" y="110"/>
                    <a:pt x="105" y="110"/>
                  </a:cubicBezTo>
                  <a:cubicBezTo>
                    <a:pt x="248" y="110"/>
                    <a:pt x="248" y="110"/>
                    <a:pt x="248" y="110"/>
                  </a:cubicBezTo>
                  <a:cubicBezTo>
                    <a:pt x="253" y="110"/>
                    <a:pt x="256" y="114"/>
                    <a:pt x="256" y="118"/>
                  </a:cubicBezTo>
                  <a:cubicBezTo>
                    <a:pt x="256" y="123"/>
                    <a:pt x="253" y="126"/>
                    <a:pt x="248" y="126"/>
                  </a:cubicBezTo>
                  <a:cubicBezTo>
                    <a:pt x="105" y="126"/>
                    <a:pt x="105" y="126"/>
                    <a:pt x="105" y="126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25" y="146"/>
                    <a:pt x="125" y="151"/>
                    <a:pt x="122" y="155"/>
                  </a:cubicBezTo>
                  <a:cubicBezTo>
                    <a:pt x="120" y="156"/>
                    <a:pt x="118" y="157"/>
                    <a:pt x="116" y="157"/>
                  </a:cubicBezTo>
                  <a:cubicBezTo>
                    <a:pt x="114" y="157"/>
                    <a:pt x="112" y="156"/>
                    <a:pt x="110" y="155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77" y="121"/>
                    <a:pt x="77" y="116"/>
                    <a:pt x="80" y="113"/>
                  </a:cubicBezTo>
                  <a:moveTo>
                    <a:pt x="330" y="259"/>
                  </a:moveTo>
                  <a:cubicBezTo>
                    <a:pt x="300" y="228"/>
                    <a:pt x="300" y="228"/>
                    <a:pt x="300" y="228"/>
                  </a:cubicBezTo>
                  <a:cubicBezTo>
                    <a:pt x="296" y="225"/>
                    <a:pt x="291" y="225"/>
                    <a:pt x="288" y="228"/>
                  </a:cubicBezTo>
                  <a:cubicBezTo>
                    <a:pt x="285" y="231"/>
                    <a:pt x="285" y="236"/>
                    <a:pt x="288" y="239"/>
                  </a:cubicBezTo>
                  <a:cubicBezTo>
                    <a:pt x="305" y="256"/>
                    <a:pt x="305" y="256"/>
                    <a:pt x="305" y="256"/>
                  </a:cubicBezTo>
                  <a:cubicBezTo>
                    <a:pt x="161" y="256"/>
                    <a:pt x="161" y="256"/>
                    <a:pt x="161" y="256"/>
                  </a:cubicBezTo>
                  <a:cubicBezTo>
                    <a:pt x="157" y="256"/>
                    <a:pt x="153" y="260"/>
                    <a:pt x="153" y="264"/>
                  </a:cubicBezTo>
                  <a:cubicBezTo>
                    <a:pt x="153" y="269"/>
                    <a:pt x="157" y="272"/>
                    <a:pt x="161" y="272"/>
                  </a:cubicBezTo>
                  <a:cubicBezTo>
                    <a:pt x="305" y="272"/>
                    <a:pt x="305" y="272"/>
                    <a:pt x="305" y="272"/>
                  </a:cubicBezTo>
                  <a:cubicBezTo>
                    <a:pt x="288" y="289"/>
                    <a:pt x="288" y="289"/>
                    <a:pt x="288" y="289"/>
                  </a:cubicBezTo>
                  <a:cubicBezTo>
                    <a:pt x="285" y="292"/>
                    <a:pt x="285" y="297"/>
                    <a:pt x="288" y="300"/>
                  </a:cubicBezTo>
                  <a:cubicBezTo>
                    <a:pt x="290" y="302"/>
                    <a:pt x="292" y="303"/>
                    <a:pt x="294" y="303"/>
                  </a:cubicBezTo>
                  <a:cubicBezTo>
                    <a:pt x="296" y="303"/>
                    <a:pt x="298" y="302"/>
                    <a:pt x="300" y="300"/>
                  </a:cubicBezTo>
                  <a:cubicBezTo>
                    <a:pt x="330" y="270"/>
                    <a:pt x="330" y="270"/>
                    <a:pt x="330" y="270"/>
                  </a:cubicBezTo>
                  <a:cubicBezTo>
                    <a:pt x="333" y="267"/>
                    <a:pt x="333" y="262"/>
                    <a:pt x="330" y="259"/>
                  </a:cubicBezTo>
                  <a:moveTo>
                    <a:pt x="80" y="209"/>
                  </a:moveTo>
                  <a:cubicBezTo>
                    <a:pt x="110" y="178"/>
                    <a:pt x="110" y="178"/>
                    <a:pt x="110" y="178"/>
                  </a:cubicBezTo>
                  <a:cubicBezTo>
                    <a:pt x="114" y="175"/>
                    <a:pt x="119" y="175"/>
                    <a:pt x="122" y="178"/>
                  </a:cubicBezTo>
                  <a:cubicBezTo>
                    <a:pt x="125" y="181"/>
                    <a:pt x="125" y="186"/>
                    <a:pt x="122" y="189"/>
                  </a:cubicBezTo>
                  <a:cubicBezTo>
                    <a:pt x="105" y="206"/>
                    <a:pt x="105" y="206"/>
                    <a:pt x="105" y="206"/>
                  </a:cubicBezTo>
                  <a:cubicBezTo>
                    <a:pt x="248" y="206"/>
                    <a:pt x="248" y="206"/>
                    <a:pt x="248" y="206"/>
                  </a:cubicBezTo>
                  <a:cubicBezTo>
                    <a:pt x="253" y="206"/>
                    <a:pt x="256" y="210"/>
                    <a:pt x="256" y="214"/>
                  </a:cubicBezTo>
                  <a:cubicBezTo>
                    <a:pt x="256" y="219"/>
                    <a:pt x="253" y="222"/>
                    <a:pt x="248" y="222"/>
                  </a:cubicBezTo>
                  <a:cubicBezTo>
                    <a:pt x="105" y="222"/>
                    <a:pt x="105" y="222"/>
                    <a:pt x="105" y="222"/>
                  </a:cubicBezTo>
                  <a:cubicBezTo>
                    <a:pt x="122" y="239"/>
                    <a:pt x="122" y="239"/>
                    <a:pt x="122" y="239"/>
                  </a:cubicBezTo>
                  <a:cubicBezTo>
                    <a:pt x="125" y="242"/>
                    <a:pt x="125" y="247"/>
                    <a:pt x="122" y="251"/>
                  </a:cubicBezTo>
                  <a:cubicBezTo>
                    <a:pt x="120" y="252"/>
                    <a:pt x="118" y="253"/>
                    <a:pt x="116" y="253"/>
                  </a:cubicBezTo>
                  <a:cubicBezTo>
                    <a:pt x="114" y="253"/>
                    <a:pt x="112" y="252"/>
                    <a:pt x="110" y="251"/>
                  </a:cubicBezTo>
                  <a:cubicBezTo>
                    <a:pt x="80" y="220"/>
                    <a:pt x="80" y="220"/>
                    <a:pt x="80" y="220"/>
                  </a:cubicBezTo>
                  <a:cubicBezTo>
                    <a:pt x="77" y="217"/>
                    <a:pt x="77" y="212"/>
                    <a:pt x="80" y="209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34" name="Group 233">
            <a:extLst>
              <a:ext uri="{FF2B5EF4-FFF2-40B4-BE49-F238E27FC236}">
                <a16:creationId xmlns:a16="http://schemas.microsoft.com/office/drawing/2014/main" id="{CEA72AEE-55EE-4221-8710-0FD896032519}"/>
              </a:ext>
            </a:extLst>
          </p:cNvPr>
          <p:cNvGrpSpPr/>
          <p:nvPr/>
        </p:nvGrpSpPr>
        <p:grpSpPr>
          <a:xfrm>
            <a:off x="3570247" y="5617106"/>
            <a:ext cx="670705" cy="879137"/>
            <a:chOff x="2961788" y="5894741"/>
            <a:chExt cx="664315" cy="950658"/>
          </a:xfrm>
        </p:grpSpPr>
        <p:sp>
          <p:nvSpPr>
            <p:cNvPr id="235" name="AutoShape 40">
              <a:extLst>
                <a:ext uri="{FF2B5EF4-FFF2-40B4-BE49-F238E27FC236}">
                  <a16:creationId xmlns:a16="http://schemas.microsoft.com/office/drawing/2014/main" id="{AA4DDBA3-6BEA-4998-BAB8-FE7F8451A88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74598" y="6165313"/>
              <a:ext cx="640525" cy="669117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 algn="l" eaLnBrk="0" hangingPunct="0">
                <a:spcBef>
                  <a:spcPct val="20000"/>
                </a:spcBef>
                <a:buClr>
                  <a:srgbClr val="00A9D4"/>
                </a:buClr>
                <a:buFont typeface="Arial" charset="0"/>
                <a:buChar char="›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rgbClr val="92CCE5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-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600"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6" name="Oval 41">
              <a:extLst>
                <a:ext uri="{FF2B5EF4-FFF2-40B4-BE49-F238E27FC236}">
                  <a16:creationId xmlns:a16="http://schemas.microsoft.com/office/drawing/2014/main" id="{79A6E493-AD92-47E8-8B68-F233B28BFD2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70938" y="5907539"/>
              <a:ext cx="644185" cy="649007"/>
            </a:xfrm>
            <a:prstGeom prst="ellipse">
              <a:avLst/>
            </a:prstGeom>
            <a:solidFill>
              <a:schemeClr val="bg1"/>
            </a:solidFill>
            <a:ln w="12700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 algn="l" eaLnBrk="0" hangingPunct="0">
                <a:spcBef>
                  <a:spcPct val="20000"/>
                </a:spcBef>
                <a:buClr>
                  <a:srgbClr val="00A9D4"/>
                </a:buClr>
                <a:buFont typeface="Arial" charset="0"/>
                <a:buChar char="›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rgbClr val="92CCE5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-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600"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7" name="Text Box 42">
              <a:extLst>
                <a:ext uri="{FF2B5EF4-FFF2-40B4-BE49-F238E27FC236}">
                  <a16:creationId xmlns:a16="http://schemas.microsoft.com/office/drawing/2014/main" id="{016C79A6-0651-422F-A7BE-116B721D2A5D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2992899" y="6412119"/>
              <a:ext cx="598432" cy="41134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txBody>
            <a:bodyPr lIns="0" tIns="0" rIns="0" bIns="0" anchor="ctr"/>
            <a:lstStyle>
              <a:lvl1pPr algn="l" eaLnBrk="0" hangingPunct="0">
                <a:spcBef>
                  <a:spcPct val="20000"/>
                </a:spcBef>
                <a:buClr>
                  <a:srgbClr val="00A9D4"/>
                </a:buClr>
                <a:buFont typeface="Arial" charset="0"/>
                <a:buChar char="›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rgbClr val="92CCE5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-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>
                  <a:latin typeface="+mn-lt"/>
                  <a:ea typeface="Segoe UI" panose="020B0502040204020203" pitchFamily="34" charset="0"/>
                  <a:cs typeface="Segoe UI" panose="020B0502040204020203" pitchFamily="34" charset="0"/>
                </a:rPr>
                <a:t>BPF</a:t>
              </a:r>
              <a:endParaRPr lang="en-US" altLang="en-US" sz="1600" dirty="0"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8" name="Rectangle 43">
              <a:extLst>
                <a:ext uri="{FF2B5EF4-FFF2-40B4-BE49-F238E27FC236}">
                  <a16:creationId xmlns:a16="http://schemas.microsoft.com/office/drawing/2014/main" id="{30B525F5-5F0A-4F54-884D-E3C80875F84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2961788" y="5894741"/>
              <a:ext cx="664315" cy="950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 algn="l" eaLnBrk="0" hangingPunct="0">
                <a:spcBef>
                  <a:spcPct val="20000"/>
                </a:spcBef>
                <a:buClr>
                  <a:srgbClr val="00A9D4"/>
                </a:buClr>
                <a:buFont typeface="Arial" charset="0"/>
                <a:buChar char="›"/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rgbClr val="92CCE5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-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itchFamily="2" charset="0"/>
                <a:buChar char="›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600"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9" name="Freeform 10">
              <a:extLst>
                <a:ext uri="{FF2B5EF4-FFF2-40B4-BE49-F238E27FC236}">
                  <a16:creationId xmlns:a16="http://schemas.microsoft.com/office/drawing/2014/main" id="{A78927A5-7A2C-4E9B-AC32-F4A3499C862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961788" y="5894741"/>
              <a:ext cx="664315" cy="950658"/>
            </a:xfrm>
            <a:custGeom>
              <a:avLst/>
              <a:gdLst>
                <a:gd name="T0" fmla="*/ 440937 w 410"/>
                <a:gd name="T1" fmla="*/ 252339 h 589"/>
                <a:gd name="T2" fmla="*/ 414079 w 410"/>
                <a:gd name="T3" fmla="*/ 610083 h 589"/>
                <a:gd name="T4" fmla="*/ 17906 w 410"/>
                <a:gd name="T5" fmla="*/ 584529 h 589"/>
                <a:gd name="T6" fmla="*/ 229422 w 410"/>
                <a:gd name="T7" fmla="*/ 17036 h 589"/>
                <a:gd name="T8" fmla="*/ 449892 w 410"/>
                <a:gd name="T9" fmla="*/ 226784 h 589"/>
                <a:gd name="T10" fmla="*/ 458843 w 410"/>
                <a:gd name="T11" fmla="*/ 218268 h 589"/>
                <a:gd name="T12" fmla="*/ 0 w 410"/>
                <a:gd name="T13" fmla="*/ 218268 h 589"/>
                <a:gd name="T14" fmla="*/ 45884 w 410"/>
                <a:gd name="T15" fmla="*/ 627117 h 589"/>
                <a:gd name="T16" fmla="*/ 458843 w 410"/>
                <a:gd name="T17" fmla="*/ 584529 h 589"/>
                <a:gd name="T18" fmla="*/ 449892 w 410"/>
                <a:gd name="T19" fmla="*/ 243820 h 589"/>
                <a:gd name="T20" fmla="*/ 167870 w 410"/>
                <a:gd name="T21" fmla="*/ 153319 h 589"/>
                <a:gd name="T22" fmla="*/ 160036 w 410"/>
                <a:gd name="T23" fmla="*/ 139478 h 589"/>
                <a:gd name="T24" fmla="*/ 229422 w 410"/>
                <a:gd name="T25" fmla="*/ 48977 h 589"/>
                <a:gd name="T26" fmla="*/ 237255 w 410"/>
                <a:gd name="T27" fmla="*/ 52172 h 589"/>
                <a:gd name="T28" fmla="*/ 299927 w 410"/>
                <a:gd name="T29" fmla="*/ 147996 h 589"/>
                <a:gd name="T30" fmla="*/ 184656 w 410"/>
                <a:gd name="T31" fmla="*/ 136284 h 589"/>
                <a:gd name="T32" fmla="*/ 229422 w 410"/>
                <a:gd name="T33" fmla="*/ 72400 h 589"/>
                <a:gd name="T34" fmla="*/ 62672 w 410"/>
                <a:gd name="T35" fmla="*/ 167161 h 589"/>
                <a:gd name="T36" fmla="*/ 109675 w 410"/>
                <a:gd name="T37" fmla="*/ 134156 h 589"/>
                <a:gd name="T38" fmla="*/ 90649 w 410"/>
                <a:gd name="T39" fmla="*/ 165032 h 589"/>
                <a:gd name="T40" fmla="*/ 302166 w 410"/>
                <a:gd name="T41" fmla="*/ 173548 h 589"/>
                <a:gd name="T42" fmla="*/ 91769 w 410"/>
                <a:gd name="T43" fmla="*/ 182066 h 589"/>
                <a:gd name="T44" fmla="*/ 109675 w 410"/>
                <a:gd name="T45" fmla="*/ 211879 h 589"/>
                <a:gd name="T46" fmla="*/ 97365 w 410"/>
                <a:gd name="T47" fmla="*/ 211879 h 589"/>
                <a:gd name="T48" fmla="*/ 62672 w 410"/>
                <a:gd name="T49" fmla="*/ 167161 h 589"/>
                <a:gd name="T50" fmla="*/ 362598 w 410"/>
                <a:gd name="T51" fmla="*/ 257662 h 589"/>
                <a:gd name="T52" fmla="*/ 350288 w 410"/>
                <a:gd name="T53" fmla="*/ 245950 h 589"/>
                <a:gd name="T54" fmla="*/ 166752 w 410"/>
                <a:gd name="T55" fmla="*/ 227848 h 589"/>
                <a:gd name="T56" fmla="*/ 166752 w 410"/>
                <a:gd name="T57" fmla="*/ 210814 h 589"/>
                <a:gd name="T58" fmla="*/ 350288 w 410"/>
                <a:gd name="T59" fmla="*/ 192713 h 589"/>
                <a:gd name="T60" fmla="*/ 355883 w 410"/>
                <a:gd name="T61" fmla="*/ 177808 h 589"/>
                <a:gd name="T62" fmla="*/ 396173 w 410"/>
                <a:gd name="T63" fmla="*/ 212944 h 589"/>
                <a:gd name="T64" fmla="*/ 62672 w 410"/>
                <a:gd name="T65" fmla="*/ 259791 h 589"/>
                <a:gd name="T66" fmla="*/ 109675 w 410"/>
                <a:gd name="T67" fmla="*/ 226784 h 589"/>
                <a:gd name="T68" fmla="*/ 90649 w 410"/>
                <a:gd name="T69" fmla="*/ 257662 h 589"/>
                <a:gd name="T70" fmla="*/ 302166 w 410"/>
                <a:gd name="T71" fmla="*/ 266179 h 589"/>
                <a:gd name="T72" fmla="*/ 91769 w 410"/>
                <a:gd name="T73" fmla="*/ 274697 h 589"/>
                <a:gd name="T74" fmla="*/ 109675 w 410"/>
                <a:gd name="T75" fmla="*/ 304509 h 589"/>
                <a:gd name="T76" fmla="*/ 97365 w 410"/>
                <a:gd name="T77" fmla="*/ 304509 h 589"/>
                <a:gd name="T78" fmla="*/ 62672 w 410"/>
                <a:gd name="T79" fmla="*/ 259791 h 589"/>
                <a:gd name="T80" fmla="*/ 362598 w 410"/>
                <a:gd name="T81" fmla="*/ 350292 h 589"/>
                <a:gd name="T82" fmla="*/ 350288 w 410"/>
                <a:gd name="T83" fmla="*/ 338581 h 589"/>
                <a:gd name="T84" fmla="*/ 166752 w 410"/>
                <a:gd name="T85" fmla="*/ 320480 h 589"/>
                <a:gd name="T86" fmla="*/ 166752 w 410"/>
                <a:gd name="T87" fmla="*/ 303444 h 589"/>
                <a:gd name="T88" fmla="*/ 350288 w 410"/>
                <a:gd name="T89" fmla="*/ 285345 h 589"/>
                <a:gd name="T90" fmla="*/ 355883 w 410"/>
                <a:gd name="T91" fmla="*/ 270439 h 589"/>
                <a:gd name="T92" fmla="*/ 396173 w 410"/>
                <a:gd name="T93" fmla="*/ 305573 h 58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10"/>
                <a:gd name="T142" fmla="*/ 0 h 589"/>
                <a:gd name="T143" fmla="*/ 410 w 410"/>
                <a:gd name="T144" fmla="*/ 589 h 58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2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2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61" y="144"/>
                  </a:moveTo>
                  <a:cubicBezTo>
                    <a:pt x="150" y="144"/>
                    <a:pt x="150" y="144"/>
                    <a:pt x="150" y="144"/>
                  </a:cubicBezTo>
                  <a:cubicBezTo>
                    <a:pt x="147" y="144"/>
                    <a:pt x="144" y="142"/>
                    <a:pt x="143" y="139"/>
                  </a:cubicBezTo>
                  <a:cubicBezTo>
                    <a:pt x="142" y="137"/>
                    <a:pt x="142" y="134"/>
                    <a:pt x="143" y="131"/>
                  </a:cubicBezTo>
                  <a:cubicBezTo>
                    <a:pt x="199" y="49"/>
                    <a:pt x="199" y="49"/>
                    <a:pt x="199" y="49"/>
                  </a:cubicBezTo>
                  <a:cubicBezTo>
                    <a:pt x="200" y="47"/>
                    <a:pt x="202" y="46"/>
                    <a:pt x="205" y="46"/>
                  </a:cubicBezTo>
                  <a:cubicBezTo>
                    <a:pt x="205" y="46"/>
                    <a:pt x="205" y="46"/>
                    <a:pt x="205" y="46"/>
                  </a:cubicBezTo>
                  <a:cubicBezTo>
                    <a:pt x="208" y="46"/>
                    <a:pt x="210" y="47"/>
                    <a:pt x="212" y="49"/>
                  </a:cubicBezTo>
                  <a:cubicBezTo>
                    <a:pt x="268" y="131"/>
                    <a:pt x="268" y="131"/>
                    <a:pt x="268" y="131"/>
                  </a:cubicBezTo>
                  <a:cubicBezTo>
                    <a:pt x="269" y="134"/>
                    <a:pt x="269" y="137"/>
                    <a:pt x="268" y="139"/>
                  </a:cubicBezTo>
                  <a:cubicBezTo>
                    <a:pt x="267" y="142"/>
                    <a:pt x="264" y="144"/>
                    <a:pt x="261" y="144"/>
                  </a:cubicBezTo>
                  <a:moveTo>
                    <a:pt x="165" y="128"/>
                  </a:moveTo>
                  <a:cubicBezTo>
                    <a:pt x="246" y="128"/>
                    <a:pt x="246" y="128"/>
                    <a:pt x="246" y="128"/>
                  </a:cubicBezTo>
                  <a:cubicBezTo>
                    <a:pt x="205" y="68"/>
                    <a:pt x="205" y="68"/>
                    <a:pt x="205" y="68"/>
                  </a:cubicBezTo>
                  <a:lnTo>
                    <a:pt x="165" y="128"/>
                  </a:lnTo>
                  <a:close/>
                  <a:moveTo>
                    <a:pt x="56" y="157"/>
                  </a:moveTo>
                  <a:cubicBezTo>
                    <a:pt x="87" y="126"/>
                    <a:pt x="87" y="126"/>
                    <a:pt x="87" y="126"/>
                  </a:cubicBezTo>
                  <a:cubicBezTo>
                    <a:pt x="90" y="123"/>
                    <a:pt x="95" y="123"/>
                    <a:pt x="98" y="126"/>
                  </a:cubicBezTo>
                  <a:cubicBezTo>
                    <a:pt x="102" y="129"/>
                    <a:pt x="102" y="134"/>
                    <a:pt x="98" y="137"/>
                  </a:cubicBezTo>
                  <a:cubicBezTo>
                    <a:pt x="81" y="155"/>
                    <a:pt x="81" y="155"/>
                    <a:pt x="81" y="155"/>
                  </a:cubicBezTo>
                  <a:cubicBezTo>
                    <a:pt x="262" y="155"/>
                    <a:pt x="262" y="155"/>
                    <a:pt x="262" y="155"/>
                  </a:cubicBezTo>
                  <a:cubicBezTo>
                    <a:pt x="267" y="155"/>
                    <a:pt x="270" y="158"/>
                    <a:pt x="270" y="163"/>
                  </a:cubicBezTo>
                  <a:cubicBezTo>
                    <a:pt x="270" y="167"/>
                    <a:pt x="267" y="171"/>
                    <a:pt x="262" y="171"/>
                  </a:cubicBezTo>
                  <a:cubicBezTo>
                    <a:pt x="82" y="171"/>
                    <a:pt x="82" y="171"/>
                    <a:pt x="82" y="171"/>
                  </a:cubicBezTo>
                  <a:cubicBezTo>
                    <a:pt x="98" y="188"/>
                    <a:pt x="98" y="188"/>
                    <a:pt x="98" y="188"/>
                  </a:cubicBezTo>
                  <a:cubicBezTo>
                    <a:pt x="102" y="191"/>
                    <a:pt x="102" y="196"/>
                    <a:pt x="98" y="199"/>
                  </a:cubicBezTo>
                  <a:cubicBezTo>
                    <a:pt x="97" y="200"/>
                    <a:pt x="95" y="201"/>
                    <a:pt x="93" y="201"/>
                  </a:cubicBezTo>
                  <a:cubicBezTo>
                    <a:pt x="91" y="201"/>
                    <a:pt x="89" y="200"/>
                    <a:pt x="87" y="199"/>
                  </a:cubicBezTo>
                  <a:cubicBezTo>
                    <a:pt x="56" y="168"/>
                    <a:pt x="56" y="168"/>
                    <a:pt x="56" y="168"/>
                  </a:cubicBezTo>
                  <a:cubicBezTo>
                    <a:pt x="53" y="165"/>
                    <a:pt x="53" y="160"/>
                    <a:pt x="56" y="157"/>
                  </a:cubicBezTo>
                  <a:moveTo>
                    <a:pt x="354" y="212"/>
                  </a:moveTo>
                  <a:cubicBezTo>
                    <a:pt x="324" y="242"/>
                    <a:pt x="324" y="242"/>
                    <a:pt x="324" y="242"/>
                  </a:cubicBezTo>
                  <a:cubicBezTo>
                    <a:pt x="321" y="245"/>
                    <a:pt x="316" y="245"/>
                    <a:pt x="313" y="242"/>
                  </a:cubicBezTo>
                  <a:cubicBezTo>
                    <a:pt x="309" y="239"/>
                    <a:pt x="309" y="234"/>
                    <a:pt x="313" y="231"/>
                  </a:cubicBezTo>
                  <a:cubicBezTo>
                    <a:pt x="330" y="214"/>
                    <a:pt x="330" y="214"/>
                    <a:pt x="330" y="214"/>
                  </a:cubicBezTo>
                  <a:cubicBezTo>
                    <a:pt x="149" y="214"/>
                    <a:pt x="149" y="214"/>
                    <a:pt x="149" y="214"/>
                  </a:cubicBezTo>
                  <a:cubicBezTo>
                    <a:pt x="144" y="214"/>
                    <a:pt x="141" y="210"/>
                    <a:pt x="141" y="206"/>
                  </a:cubicBezTo>
                  <a:cubicBezTo>
                    <a:pt x="141" y="201"/>
                    <a:pt x="144" y="198"/>
                    <a:pt x="149" y="198"/>
                  </a:cubicBezTo>
                  <a:cubicBezTo>
                    <a:pt x="329" y="198"/>
                    <a:pt x="329" y="198"/>
                    <a:pt x="329" y="198"/>
                  </a:cubicBezTo>
                  <a:cubicBezTo>
                    <a:pt x="313" y="181"/>
                    <a:pt x="313" y="181"/>
                    <a:pt x="313" y="181"/>
                  </a:cubicBezTo>
                  <a:cubicBezTo>
                    <a:pt x="309" y="178"/>
                    <a:pt x="309" y="173"/>
                    <a:pt x="313" y="170"/>
                  </a:cubicBezTo>
                  <a:cubicBezTo>
                    <a:pt x="314" y="168"/>
                    <a:pt x="316" y="167"/>
                    <a:pt x="318" y="167"/>
                  </a:cubicBezTo>
                  <a:cubicBezTo>
                    <a:pt x="320" y="167"/>
                    <a:pt x="322" y="168"/>
                    <a:pt x="324" y="170"/>
                  </a:cubicBezTo>
                  <a:cubicBezTo>
                    <a:pt x="354" y="200"/>
                    <a:pt x="354" y="200"/>
                    <a:pt x="354" y="200"/>
                  </a:cubicBezTo>
                  <a:cubicBezTo>
                    <a:pt x="358" y="203"/>
                    <a:pt x="358" y="208"/>
                    <a:pt x="354" y="212"/>
                  </a:cubicBezTo>
                  <a:moveTo>
                    <a:pt x="56" y="244"/>
                  </a:moveTo>
                  <a:cubicBezTo>
                    <a:pt x="87" y="213"/>
                    <a:pt x="87" y="213"/>
                    <a:pt x="87" y="213"/>
                  </a:cubicBezTo>
                  <a:cubicBezTo>
                    <a:pt x="90" y="210"/>
                    <a:pt x="95" y="210"/>
                    <a:pt x="98" y="213"/>
                  </a:cubicBezTo>
                  <a:cubicBezTo>
                    <a:pt x="102" y="216"/>
                    <a:pt x="102" y="221"/>
                    <a:pt x="98" y="224"/>
                  </a:cubicBezTo>
                  <a:cubicBezTo>
                    <a:pt x="81" y="242"/>
                    <a:pt x="81" y="242"/>
                    <a:pt x="81" y="242"/>
                  </a:cubicBezTo>
                  <a:cubicBezTo>
                    <a:pt x="262" y="242"/>
                    <a:pt x="262" y="242"/>
                    <a:pt x="262" y="242"/>
                  </a:cubicBezTo>
                  <a:cubicBezTo>
                    <a:pt x="267" y="242"/>
                    <a:pt x="270" y="245"/>
                    <a:pt x="270" y="250"/>
                  </a:cubicBezTo>
                  <a:cubicBezTo>
                    <a:pt x="270" y="254"/>
                    <a:pt x="267" y="258"/>
                    <a:pt x="262" y="258"/>
                  </a:cubicBezTo>
                  <a:cubicBezTo>
                    <a:pt x="82" y="258"/>
                    <a:pt x="82" y="258"/>
                    <a:pt x="82" y="258"/>
                  </a:cubicBezTo>
                  <a:cubicBezTo>
                    <a:pt x="98" y="274"/>
                    <a:pt x="98" y="274"/>
                    <a:pt x="98" y="274"/>
                  </a:cubicBezTo>
                  <a:cubicBezTo>
                    <a:pt x="102" y="278"/>
                    <a:pt x="102" y="283"/>
                    <a:pt x="98" y="286"/>
                  </a:cubicBezTo>
                  <a:cubicBezTo>
                    <a:pt x="97" y="287"/>
                    <a:pt x="95" y="288"/>
                    <a:pt x="93" y="288"/>
                  </a:cubicBezTo>
                  <a:cubicBezTo>
                    <a:pt x="91" y="288"/>
                    <a:pt x="89" y="287"/>
                    <a:pt x="87" y="286"/>
                  </a:cubicBezTo>
                  <a:cubicBezTo>
                    <a:pt x="56" y="255"/>
                    <a:pt x="56" y="255"/>
                    <a:pt x="56" y="255"/>
                  </a:cubicBezTo>
                  <a:cubicBezTo>
                    <a:pt x="53" y="252"/>
                    <a:pt x="53" y="247"/>
                    <a:pt x="56" y="244"/>
                  </a:cubicBezTo>
                  <a:moveTo>
                    <a:pt x="354" y="298"/>
                  </a:moveTo>
                  <a:cubicBezTo>
                    <a:pt x="324" y="329"/>
                    <a:pt x="324" y="329"/>
                    <a:pt x="324" y="329"/>
                  </a:cubicBezTo>
                  <a:cubicBezTo>
                    <a:pt x="321" y="332"/>
                    <a:pt x="316" y="332"/>
                    <a:pt x="313" y="329"/>
                  </a:cubicBezTo>
                  <a:cubicBezTo>
                    <a:pt x="309" y="326"/>
                    <a:pt x="309" y="321"/>
                    <a:pt x="313" y="318"/>
                  </a:cubicBezTo>
                  <a:cubicBezTo>
                    <a:pt x="330" y="301"/>
                    <a:pt x="330" y="301"/>
                    <a:pt x="330" y="301"/>
                  </a:cubicBezTo>
                  <a:cubicBezTo>
                    <a:pt x="149" y="301"/>
                    <a:pt x="149" y="301"/>
                    <a:pt x="149" y="301"/>
                  </a:cubicBezTo>
                  <a:cubicBezTo>
                    <a:pt x="144" y="301"/>
                    <a:pt x="141" y="297"/>
                    <a:pt x="141" y="293"/>
                  </a:cubicBezTo>
                  <a:cubicBezTo>
                    <a:pt x="141" y="288"/>
                    <a:pt x="144" y="285"/>
                    <a:pt x="149" y="285"/>
                  </a:cubicBezTo>
                  <a:cubicBezTo>
                    <a:pt x="329" y="285"/>
                    <a:pt x="329" y="285"/>
                    <a:pt x="329" y="285"/>
                  </a:cubicBezTo>
                  <a:cubicBezTo>
                    <a:pt x="313" y="268"/>
                    <a:pt x="313" y="268"/>
                    <a:pt x="313" y="268"/>
                  </a:cubicBezTo>
                  <a:cubicBezTo>
                    <a:pt x="309" y="265"/>
                    <a:pt x="309" y="260"/>
                    <a:pt x="313" y="256"/>
                  </a:cubicBezTo>
                  <a:cubicBezTo>
                    <a:pt x="314" y="255"/>
                    <a:pt x="316" y="254"/>
                    <a:pt x="318" y="254"/>
                  </a:cubicBezTo>
                  <a:cubicBezTo>
                    <a:pt x="320" y="254"/>
                    <a:pt x="322" y="255"/>
                    <a:pt x="324" y="256"/>
                  </a:cubicBezTo>
                  <a:cubicBezTo>
                    <a:pt x="354" y="287"/>
                    <a:pt x="354" y="287"/>
                    <a:pt x="354" y="287"/>
                  </a:cubicBezTo>
                  <a:cubicBezTo>
                    <a:pt x="358" y="290"/>
                    <a:pt x="358" y="295"/>
                    <a:pt x="354" y="29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tIns="1080000" anchor="ctr"/>
            <a:lstStyle/>
            <a:p>
              <a:endParaRPr lang="en-US" sz="1600">
                <a:latin typeface="+mn-lt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259" name="Straight Connector 133">
            <a:extLst>
              <a:ext uri="{FF2B5EF4-FFF2-40B4-BE49-F238E27FC236}">
                <a16:creationId xmlns:a16="http://schemas.microsoft.com/office/drawing/2014/main" id="{A046E588-5F71-4315-B4E9-E424C913BCAE}"/>
              </a:ext>
            </a:extLst>
          </p:cNvPr>
          <p:cNvCxnSpPr>
            <a:cxnSpLocks/>
            <a:stCxn id="236" idx="7"/>
            <a:endCxn id="249" idx="1"/>
          </p:cNvCxnSpPr>
          <p:nvPr/>
        </p:nvCxnSpPr>
        <p:spPr bwMode="auto">
          <a:xfrm flipV="1">
            <a:off x="4134620" y="5048417"/>
            <a:ext cx="809261" cy="668418"/>
          </a:xfrm>
          <a:prstGeom prst="line">
            <a:avLst/>
          </a:prstGeom>
          <a:noFill/>
          <a:ln w="19050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45" name="Group 159">
            <a:extLst>
              <a:ext uri="{FF2B5EF4-FFF2-40B4-BE49-F238E27FC236}">
                <a16:creationId xmlns:a16="http://schemas.microsoft.com/office/drawing/2014/main" id="{C6705FF3-8D2D-4652-96AF-B31DF138D54A}"/>
              </a:ext>
            </a:extLst>
          </p:cNvPr>
          <p:cNvGrpSpPr>
            <a:grpSpLocks/>
          </p:cNvGrpSpPr>
          <p:nvPr/>
        </p:nvGrpSpPr>
        <p:grpSpPr bwMode="auto">
          <a:xfrm>
            <a:off x="4913082" y="4386108"/>
            <a:ext cx="657655" cy="870798"/>
            <a:chOff x="4338871" y="2725624"/>
            <a:chExt cx="1101600" cy="1587600"/>
          </a:xfrm>
        </p:grpSpPr>
        <p:sp>
          <p:nvSpPr>
            <p:cNvPr id="247" name="AutoShape 238">
              <a:extLst>
                <a:ext uri="{FF2B5EF4-FFF2-40B4-BE49-F238E27FC236}">
                  <a16:creationId xmlns:a16="http://schemas.microsoft.com/office/drawing/2014/main" id="{A20855A3-71D1-48DA-BB00-F301661B632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48" name="Oval 239">
              <a:extLst>
                <a:ext uri="{FF2B5EF4-FFF2-40B4-BE49-F238E27FC236}">
                  <a16:creationId xmlns:a16="http://schemas.microsoft.com/office/drawing/2014/main" id="{AAD88C71-999F-40CC-B523-4F8469FE6D3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4045" y="2746996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49" name="Text Box 240">
              <a:extLst>
                <a:ext uri="{FF2B5EF4-FFF2-40B4-BE49-F238E27FC236}">
                  <a16:creationId xmlns:a16="http://schemas.microsoft.com/office/drawing/2014/main" id="{DA0E41D5-0A60-4C2A-8F3D-0B2F923802E2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RCF</a:t>
              </a:r>
            </a:p>
          </p:txBody>
        </p:sp>
        <p:sp>
          <p:nvSpPr>
            <p:cNvPr id="250" name="Rectangle 241">
              <a:extLst>
                <a:ext uri="{FF2B5EF4-FFF2-40B4-BE49-F238E27FC236}">
                  <a16:creationId xmlns:a16="http://schemas.microsoft.com/office/drawing/2014/main" id="{C25880D0-EA4C-44B9-9B94-6E23154F67B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51" name="Freeform 11">
              <a:extLst>
                <a:ext uri="{FF2B5EF4-FFF2-40B4-BE49-F238E27FC236}">
                  <a16:creationId xmlns:a16="http://schemas.microsoft.com/office/drawing/2014/main" id="{A6037B27-1658-457B-8441-D810B64C8908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sp>
        <p:nvSpPr>
          <p:cNvPr id="163" name="Text Box 144">
            <a:extLst>
              <a:ext uri="{FF2B5EF4-FFF2-40B4-BE49-F238E27FC236}">
                <a16:creationId xmlns:a16="http://schemas.microsoft.com/office/drawing/2014/main" id="{C2235DDA-A1DF-4060-9228-0A445E73AEAD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2337575" y="4288594"/>
            <a:ext cx="1121746" cy="19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600" dirty="0"/>
              <a:t>NG-RAN</a:t>
            </a:r>
          </a:p>
        </p:txBody>
      </p:sp>
      <p:sp>
        <p:nvSpPr>
          <p:cNvPr id="167" name="Text Box 144">
            <a:extLst>
              <a:ext uri="{FF2B5EF4-FFF2-40B4-BE49-F238E27FC236}">
                <a16:creationId xmlns:a16="http://schemas.microsoft.com/office/drawing/2014/main" id="{1096EC00-8E15-4531-93C9-595E3B2584ED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4539250" y="1224877"/>
            <a:ext cx="1121746" cy="196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MS PGothic" charset="-128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en-US" altLang="en-US" sz="1600" dirty="0"/>
              <a:t>5GC</a:t>
            </a:r>
          </a:p>
        </p:txBody>
      </p:sp>
      <p:grpSp>
        <p:nvGrpSpPr>
          <p:cNvPr id="201" name="Group 159">
            <a:extLst>
              <a:ext uri="{FF2B5EF4-FFF2-40B4-BE49-F238E27FC236}">
                <a16:creationId xmlns:a16="http://schemas.microsoft.com/office/drawing/2014/main" id="{EB175E33-9368-40BD-A990-4F15758F36CA}"/>
              </a:ext>
            </a:extLst>
          </p:cNvPr>
          <p:cNvGrpSpPr>
            <a:grpSpLocks/>
          </p:cNvGrpSpPr>
          <p:nvPr/>
        </p:nvGrpSpPr>
        <p:grpSpPr bwMode="auto">
          <a:xfrm>
            <a:off x="4365788" y="1500528"/>
            <a:ext cx="715834" cy="891978"/>
            <a:chOff x="4338871" y="2725624"/>
            <a:chExt cx="1199053" cy="1626215"/>
          </a:xfrm>
        </p:grpSpPr>
        <p:sp>
          <p:nvSpPr>
            <p:cNvPr id="202" name="Rectangle 241">
              <a:extLst>
                <a:ext uri="{FF2B5EF4-FFF2-40B4-BE49-F238E27FC236}">
                  <a16:creationId xmlns:a16="http://schemas.microsoft.com/office/drawing/2014/main" id="{7124ADC2-A71B-4837-947A-6410B33FF29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03" name="AutoShape 238">
              <a:extLst>
                <a:ext uri="{FF2B5EF4-FFF2-40B4-BE49-F238E27FC236}">
                  <a16:creationId xmlns:a16="http://schemas.microsoft.com/office/drawing/2014/main" id="{A09271FE-6748-4347-B067-C46610065E2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04" name="Oval 239">
              <a:extLst>
                <a:ext uri="{FF2B5EF4-FFF2-40B4-BE49-F238E27FC236}">
                  <a16:creationId xmlns:a16="http://schemas.microsoft.com/office/drawing/2014/main" id="{90417171-C66C-4EAE-A9C7-164C8D462E4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4045" y="2746996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05" name="Text Box 240">
              <a:extLst>
                <a:ext uri="{FF2B5EF4-FFF2-40B4-BE49-F238E27FC236}">
                  <a16:creationId xmlns:a16="http://schemas.microsoft.com/office/drawing/2014/main" id="{3A36359C-56B2-4E8C-B9AF-FD544C66FFCA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AUSF</a:t>
              </a:r>
            </a:p>
          </p:txBody>
        </p:sp>
        <p:sp>
          <p:nvSpPr>
            <p:cNvPr id="208" name="Rectangle 241">
              <a:extLst>
                <a:ext uri="{FF2B5EF4-FFF2-40B4-BE49-F238E27FC236}">
                  <a16:creationId xmlns:a16="http://schemas.microsoft.com/office/drawing/2014/main" id="{ED5A753C-F2CF-43DD-88E4-BB189D55884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09" name="Freeform 11">
              <a:extLst>
                <a:ext uri="{FF2B5EF4-FFF2-40B4-BE49-F238E27FC236}">
                  <a16:creationId xmlns:a16="http://schemas.microsoft.com/office/drawing/2014/main" id="{C3A2CB94-0C90-491F-A06F-DAC68ECD5D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10" name="Group 159">
            <a:extLst>
              <a:ext uri="{FF2B5EF4-FFF2-40B4-BE49-F238E27FC236}">
                <a16:creationId xmlns:a16="http://schemas.microsoft.com/office/drawing/2014/main" id="{286252C5-BD4D-4B13-96EA-8649009BB32A}"/>
              </a:ext>
            </a:extLst>
          </p:cNvPr>
          <p:cNvGrpSpPr>
            <a:grpSpLocks/>
          </p:cNvGrpSpPr>
          <p:nvPr/>
        </p:nvGrpSpPr>
        <p:grpSpPr bwMode="auto">
          <a:xfrm>
            <a:off x="5196104" y="1507648"/>
            <a:ext cx="715834" cy="891978"/>
            <a:chOff x="4338871" y="2725624"/>
            <a:chExt cx="1199053" cy="1626215"/>
          </a:xfrm>
        </p:grpSpPr>
        <p:sp>
          <p:nvSpPr>
            <p:cNvPr id="211" name="Rectangle 241">
              <a:extLst>
                <a:ext uri="{FF2B5EF4-FFF2-40B4-BE49-F238E27FC236}">
                  <a16:creationId xmlns:a16="http://schemas.microsoft.com/office/drawing/2014/main" id="{2480E4E2-BDC7-42C1-9112-09D2D745E5A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12" name="AutoShape 238">
              <a:extLst>
                <a:ext uri="{FF2B5EF4-FFF2-40B4-BE49-F238E27FC236}">
                  <a16:creationId xmlns:a16="http://schemas.microsoft.com/office/drawing/2014/main" id="{40876F73-9D8E-4860-AA01-ECDDC727B9C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13" name="Oval 239">
              <a:extLst>
                <a:ext uri="{FF2B5EF4-FFF2-40B4-BE49-F238E27FC236}">
                  <a16:creationId xmlns:a16="http://schemas.microsoft.com/office/drawing/2014/main" id="{CAD36648-4E84-45CF-BD30-4B80A95E3CBD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4045" y="2746996"/>
              <a:ext cx="1068218" cy="108384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31" name="Text Box 240">
              <a:extLst>
                <a:ext uri="{FF2B5EF4-FFF2-40B4-BE49-F238E27FC236}">
                  <a16:creationId xmlns:a16="http://schemas.microsoft.com/office/drawing/2014/main" id="{D2CC42CC-54DD-476C-AAE7-8481E7CC4F26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NRF</a:t>
              </a:r>
            </a:p>
          </p:txBody>
        </p:sp>
        <p:sp>
          <p:nvSpPr>
            <p:cNvPr id="232" name="Rectangle 241">
              <a:extLst>
                <a:ext uri="{FF2B5EF4-FFF2-40B4-BE49-F238E27FC236}">
                  <a16:creationId xmlns:a16="http://schemas.microsoft.com/office/drawing/2014/main" id="{C25D580E-A7AA-4D5D-AD27-A2B872513B0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33" name="Freeform 11">
              <a:extLst>
                <a:ext uri="{FF2B5EF4-FFF2-40B4-BE49-F238E27FC236}">
                  <a16:creationId xmlns:a16="http://schemas.microsoft.com/office/drawing/2014/main" id="{201D4C1F-FAFD-4A7A-A6B4-B8B8BCA5B309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46" name="Group 159">
            <a:extLst>
              <a:ext uri="{FF2B5EF4-FFF2-40B4-BE49-F238E27FC236}">
                <a16:creationId xmlns:a16="http://schemas.microsoft.com/office/drawing/2014/main" id="{DD7BBFFB-DC47-4D6C-BD46-49B61BD2FF76}"/>
              </a:ext>
            </a:extLst>
          </p:cNvPr>
          <p:cNvGrpSpPr>
            <a:grpSpLocks/>
          </p:cNvGrpSpPr>
          <p:nvPr/>
        </p:nvGrpSpPr>
        <p:grpSpPr bwMode="auto">
          <a:xfrm>
            <a:off x="7827799" y="1489077"/>
            <a:ext cx="715834" cy="891978"/>
            <a:chOff x="4338871" y="2725624"/>
            <a:chExt cx="1199053" cy="1626215"/>
          </a:xfrm>
        </p:grpSpPr>
        <p:sp>
          <p:nvSpPr>
            <p:cNvPr id="260" name="Rectangle 241">
              <a:extLst>
                <a:ext uri="{FF2B5EF4-FFF2-40B4-BE49-F238E27FC236}">
                  <a16:creationId xmlns:a16="http://schemas.microsoft.com/office/drawing/2014/main" id="{3BAF17AF-CD1E-4DC3-B073-5C03D14F52A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61" name="AutoShape 238">
              <a:extLst>
                <a:ext uri="{FF2B5EF4-FFF2-40B4-BE49-F238E27FC236}">
                  <a16:creationId xmlns:a16="http://schemas.microsoft.com/office/drawing/2014/main" id="{B1E2A30E-41FF-4334-BD6A-3D26C86AC3A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62" name="Oval 239">
              <a:extLst>
                <a:ext uri="{FF2B5EF4-FFF2-40B4-BE49-F238E27FC236}">
                  <a16:creationId xmlns:a16="http://schemas.microsoft.com/office/drawing/2014/main" id="{35D12F16-F57F-4843-B614-19F7BC8C8BB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4045" y="2746997"/>
              <a:ext cx="1068219" cy="108384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63" name="Text Box 240">
              <a:extLst>
                <a:ext uri="{FF2B5EF4-FFF2-40B4-BE49-F238E27FC236}">
                  <a16:creationId xmlns:a16="http://schemas.microsoft.com/office/drawing/2014/main" id="{2CC11DEE-5089-4DCE-B7B8-02A5DF401D63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NSSF</a:t>
              </a:r>
            </a:p>
          </p:txBody>
        </p:sp>
        <p:sp>
          <p:nvSpPr>
            <p:cNvPr id="264" name="Rectangle 241">
              <a:extLst>
                <a:ext uri="{FF2B5EF4-FFF2-40B4-BE49-F238E27FC236}">
                  <a16:creationId xmlns:a16="http://schemas.microsoft.com/office/drawing/2014/main" id="{A00F7C9E-095C-4FB7-911A-752B660BCA9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65" name="Freeform 11">
              <a:extLst>
                <a:ext uri="{FF2B5EF4-FFF2-40B4-BE49-F238E27FC236}">
                  <a16:creationId xmlns:a16="http://schemas.microsoft.com/office/drawing/2014/main" id="{0D582787-0590-46E3-928B-E2FA837D7B5C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66" name="Group 159">
            <a:extLst>
              <a:ext uri="{FF2B5EF4-FFF2-40B4-BE49-F238E27FC236}">
                <a16:creationId xmlns:a16="http://schemas.microsoft.com/office/drawing/2014/main" id="{3D701FB0-8049-4340-8EF7-06308B3B1FAA}"/>
              </a:ext>
            </a:extLst>
          </p:cNvPr>
          <p:cNvGrpSpPr>
            <a:grpSpLocks/>
          </p:cNvGrpSpPr>
          <p:nvPr/>
        </p:nvGrpSpPr>
        <p:grpSpPr bwMode="auto">
          <a:xfrm>
            <a:off x="8658306" y="1496718"/>
            <a:ext cx="715834" cy="891978"/>
            <a:chOff x="4338871" y="2725624"/>
            <a:chExt cx="1199053" cy="1626215"/>
          </a:xfrm>
        </p:grpSpPr>
        <p:sp>
          <p:nvSpPr>
            <p:cNvPr id="267" name="Rectangle 241">
              <a:extLst>
                <a:ext uri="{FF2B5EF4-FFF2-40B4-BE49-F238E27FC236}">
                  <a16:creationId xmlns:a16="http://schemas.microsoft.com/office/drawing/2014/main" id="{E934C891-D8B0-4E8B-8A8C-711505F017D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68" name="AutoShape 238">
              <a:extLst>
                <a:ext uri="{FF2B5EF4-FFF2-40B4-BE49-F238E27FC236}">
                  <a16:creationId xmlns:a16="http://schemas.microsoft.com/office/drawing/2014/main" id="{446ABC9F-78D2-46EB-AB49-BB95415DDB71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69" name="Oval 239">
              <a:extLst>
                <a:ext uri="{FF2B5EF4-FFF2-40B4-BE49-F238E27FC236}">
                  <a16:creationId xmlns:a16="http://schemas.microsoft.com/office/drawing/2014/main" id="{AA914888-B45B-4A7B-9919-7F44D8ADD59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4045" y="2746997"/>
              <a:ext cx="1068219" cy="108384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70" name="Text Box 240">
              <a:extLst>
                <a:ext uri="{FF2B5EF4-FFF2-40B4-BE49-F238E27FC236}">
                  <a16:creationId xmlns:a16="http://schemas.microsoft.com/office/drawing/2014/main" id="{04502CBB-A861-4D17-80E7-84C65338D6FE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NEF</a:t>
              </a:r>
            </a:p>
          </p:txBody>
        </p:sp>
        <p:sp>
          <p:nvSpPr>
            <p:cNvPr id="271" name="Rectangle 241">
              <a:extLst>
                <a:ext uri="{FF2B5EF4-FFF2-40B4-BE49-F238E27FC236}">
                  <a16:creationId xmlns:a16="http://schemas.microsoft.com/office/drawing/2014/main" id="{152ACA76-E2EC-43D2-88CC-6F29EE2EBE3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72" name="Freeform 11">
              <a:extLst>
                <a:ext uri="{FF2B5EF4-FFF2-40B4-BE49-F238E27FC236}">
                  <a16:creationId xmlns:a16="http://schemas.microsoft.com/office/drawing/2014/main" id="{4F5CF68F-4984-47FB-8F45-65B3E9615C0A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73" name="Group 159">
            <a:extLst>
              <a:ext uri="{FF2B5EF4-FFF2-40B4-BE49-F238E27FC236}">
                <a16:creationId xmlns:a16="http://schemas.microsoft.com/office/drawing/2014/main" id="{7CAF5F57-BA7E-455D-AAC0-40973C427EC7}"/>
              </a:ext>
            </a:extLst>
          </p:cNvPr>
          <p:cNvGrpSpPr>
            <a:grpSpLocks/>
          </p:cNvGrpSpPr>
          <p:nvPr/>
        </p:nvGrpSpPr>
        <p:grpSpPr bwMode="auto">
          <a:xfrm>
            <a:off x="10087822" y="1497753"/>
            <a:ext cx="715834" cy="891978"/>
            <a:chOff x="4338871" y="2725624"/>
            <a:chExt cx="1199053" cy="1626215"/>
          </a:xfrm>
        </p:grpSpPr>
        <p:sp>
          <p:nvSpPr>
            <p:cNvPr id="274" name="Rectangle 241">
              <a:extLst>
                <a:ext uri="{FF2B5EF4-FFF2-40B4-BE49-F238E27FC236}">
                  <a16:creationId xmlns:a16="http://schemas.microsoft.com/office/drawing/2014/main" id="{502CDBAD-9619-4897-A9FD-43A22A512C9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656108" y="3080987"/>
              <a:ext cx="881816" cy="12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75" name="AutoShape 238">
              <a:extLst>
                <a:ext uri="{FF2B5EF4-FFF2-40B4-BE49-F238E27FC236}">
                  <a16:creationId xmlns:a16="http://schemas.microsoft.com/office/drawing/2014/main" id="{67274D5B-B82C-4DB4-854C-0A2D67E454B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60114" y="3177479"/>
              <a:ext cx="1062149" cy="1117426"/>
            </a:xfrm>
            <a:prstGeom prst="roundRect">
              <a:avLst>
                <a:gd name="adj" fmla="val 9356"/>
              </a:avLst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76" name="Oval 239">
              <a:extLst>
                <a:ext uri="{FF2B5EF4-FFF2-40B4-BE49-F238E27FC236}">
                  <a16:creationId xmlns:a16="http://schemas.microsoft.com/office/drawing/2014/main" id="{CDD3E1D1-8628-4CD8-A486-0D992B641B1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54045" y="2746997"/>
              <a:ext cx="1068219" cy="1083843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0" r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77" name="Text Box 240">
              <a:extLst>
                <a:ext uri="{FF2B5EF4-FFF2-40B4-BE49-F238E27FC236}">
                  <a16:creationId xmlns:a16="http://schemas.microsoft.com/office/drawing/2014/main" id="{544F17F5-E048-4DBB-84F5-44823F255164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4390461" y="3589645"/>
              <a:ext cx="992350" cy="6869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400" dirty="0"/>
                <a:t>AF</a:t>
              </a:r>
            </a:p>
          </p:txBody>
        </p:sp>
        <p:sp>
          <p:nvSpPr>
            <p:cNvPr id="278" name="Rectangle 241">
              <a:extLst>
                <a:ext uri="{FF2B5EF4-FFF2-40B4-BE49-F238E27FC236}">
                  <a16:creationId xmlns:a16="http://schemas.microsoft.com/office/drawing/2014/main" id="{6A9BF82E-FCB0-43AA-887A-AF51DC0A888A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4338871" y="2725624"/>
              <a:ext cx="1101600" cy="1587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72000" rIns="7200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sv-SE" altLang="en-US" sz="1400"/>
            </a:p>
          </p:txBody>
        </p:sp>
        <p:sp>
          <p:nvSpPr>
            <p:cNvPr id="279" name="Freeform 11">
              <a:extLst>
                <a:ext uri="{FF2B5EF4-FFF2-40B4-BE49-F238E27FC236}">
                  <a16:creationId xmlns:a16="http://schemas.microsoft.com/office/drawing/2014/main" id="{B171E68E-74B9-4FB6-8FC7-70BE567EC8C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4338871" y="2725624"/>
              <a:ext cx="1101600" cy="1584547"/>
            </a:xfrm>
            <a:custGeom>
              <a:avLst/>
              <a:gdLst>
                <a:gd name="T0" fmla="*/ 2147483646 w 410"/>
                <a:gd name="T1" fmla="*/ 2147483646 h 589"/>
                <a:gd name="T2" fmla="*/ 2147483646 w 410"/>
                <a:gd name="T3" fmla="*/ 2147483646 h 589"/>
                <a:gd name="T4" fmla="*/ 2147483646 w 410"/>
                <a:gd name="T5" fmla="*/ 2147483646 h 589"/>
                <a:gd name="T6" fmla="*/ 2147483646 w 410"/>
                <a:gd name="T7" fmla="*/ 2147483646 h 589"/>
                <a:gd name="T8" fmla="*/ 2147483646 w 410"/>
                <a:gd name="T9" fmla="*/ 2147483646 h 589"/>
                <a:gd name="T10" fmla="*/ 2147483646 w 410"/>
                <a:gd name="T11" fmla="*/ 2147483646 h 589"/>
                <a:gd name="T12" fmla="*/ 2147483646 w 410"/>
                <a:gd name="T13" fmla="*/ 2147483646 h 589"/>
                <a:gd name="T14" fmla="*/ 2147483646 w 410"/>
                <a:gd name="T15" fmla="*/ 2147483646 h 589"/>
                <a:gd name="T16" fmla="*/ 2147483646 w 410"/>
                <a:gd name="T17" fmla="*/ 2147483646 h 589"/>
                <a:gd name="T18" fmla="*/ 2147483646 w 410"/>
                <a:gd name="T19" fmla="*/ 2147483646 h 589"/>
                <a:gd name="T20" fmla="*/ 2147483646 w 410"/>
                <a:gd name="T21" fmla="*/ 2147483646 h 589"/>
                <a:gd name="T22" fmla="*/ 2147483646 w 410"/>
                <a:gd name="T23" fmla="*/ 2147483646 h 589"/>
                <a:gd name="T24" fmla="*/ 2147483646 w 410"/>
                <a:gd name="T25" fmla="*/ 0 h 589"/>
                <a:gd name="T26" fmla="*/ 0 w 410"/>
                <a:gd name="T27" fmla="*/ 2147483646 h 589"/>
                <a:gd name="T28" fmla="*/ 0 w 410"/>
                <a:gd name="T29" fmla="*/ 2147483646 h 589"/>
                <a:gd name="T30" fmla="*/ 2147483646 w 410"/>
                <a:gd name="T31" fmla="*/ 2147483646 h 589"/>
                <a:gd name="T32" fmla="*/ 2147483646 w 410"/>
                <a:gd name="T33" fmla="*/ 2147483646 h 589"/>
                <a:gd name="T34" fmla="*/ 2147483646 w 410"/>
                <a:gd name="T35" fmla="*/ 2147483646 h 589"/>
                <a:gd name="T36" fmla="*/ 2147483646 w 410"/>
                <a:gd name="T37" fmla="*/ 2147483646 h 589"/>
                <a:gd name="T38" fmla="*/ 2147483646 w 410"/>
                <a:gd name="T39" fmla="*/ 2147483646 h 589"/>
                <a:gd name="T40" fmla="*/ 2147483646 w 410"/>
                <a:gd name="T41" fmla="*/ 2147483646 h 589"/>
                <a:gd name="T42" fmla="*/ 2147483646 w 410"/>
                <a:gd name="T43" fmla="*/ 2147483646 h 589"/>
                <a:gd name="T44" fmla="*/ 2147483646 w 410"/>
                <a:gd name="T45" fmla="*/ 2147483646 h 589"/>
                <a:gd name="T46" fmla="*/ 2147483646 w 410"/>
                <a:gd name="T47" fmla="*/ 2147483646 h 589"/>
                <a:gd name="T48" fmla="*/ 2147483646 w 410"/>
                <a:gd name="T49" fmla="*/ 2147483646 h 589"/>
                <a:gd name="T50" fmla="*/ 2147483646 w 410"/>
                <a:gd name="T51" fmla="*/ 2147483646 h 589"/>
                <a:gd name="T52" fmla="*/ 2147483646 w 410"/>
                <a:gd name="T53" fmla="*/ 2147483646 h 589"/>
                <a:gd name="T54" fmla="*/ 2147483646 w 410"/>
                <a:gd name="T55" fmla="*/ 2147483646 h 589"/>
                <a:gd name="T56" fmla="*/ 2147483646 w 410"/>
                <a:gd name="T57" fmla="*/ 2147483646 h 589"/>
                <a:gd name="T58" fmla="*/ 2147483646 w 410"/>
                <a:gd name="T59" fmla="*/ 2147483646 h 589"/>
                <a:gd name="T60" fmla="*/ 2147483646 w 410"/>
                <a:gd name="T61" fmla="*/ 2147483646 h 589"/>
                <a:gd name="T62" fmla="*/ 2147483646 w 410"/>
                <a:gd name="T63" fmla="*/ 2147483646 h 589"/>
                <a:gd name="T64" fmla="*/ 2147483646 w 410"/>
                <a:gd name="T65" fmla="*/ 2147483646 h 589"/>
                <a:gd name="T66" fmla="*/ 2147483646 w 410"/>
                <a:gd name="T67" fmla="*/ 2147483646 h 589"/>
                <a:gd name="T68" fmla="*/ 2147483646 w 410"/>
                <a:gd name="T69" fmla="*/ 2147483646 h 5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10"/>
                <a:gd name="T106" fmla="*/ 0 h 589"/>
                <a:gd name="T107" fmla="*/ 410 w 410"/>
                <a:gd name="T108" fmla="*/ 589 h 58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10" h="589">
                  <a:moveTo>
                    <a:pt x="402" y="229"/>
                  </a:moveTo>
                  <a:cubicBezTo>
                    <a:pt x="397" y="229"/>
                    <a:pt x="394" y="233"/>
                    <a:pt x="394" y="237"/>
                  </a:cubicBezTo>
                  <a:cubicBezTo>
                    <a:pt x="394" y="549"/>
                    <a:pt x="394" y="549"/>
                    <a:pt x="394" y="549"/>
                  </a:cubicBezTo>
                  <a:cubicBezTo>
                    <a:pt x="394" y="563"/>
                    <a:pt x="383" y="573"/>
                    <a:pt x="370" y="573"/>
                  </a:cubicBezTo>
                  <a:cubicBezTo>
                    <a:pt x="41" y="573"/>
                    <a:pt x="41" y="573"/>
                    <a:pt x="41" y="573"/>
                  </a:cubicBezTo>
                  <a:cubicBezTo>
                    <a:pt x="27" y="573"/>
                    <a:pt x="17" y="563"/>
                    <a:pt x="16" y="549"/>
                  </a:cubicBezTo>
                  <a:cubicBezTo>
                    <a:pt x="16" y="205"/>
                    <a:pt x="16" y="205"/>
                    <a:pt x="16" y="205"/>
                  </a:cubicBezTo>
                  <a:cubicBezTo>
                    <a:pt x="17" y="101"/>
                    <a:pt x="101" y="16"/>
                    <a:pt x="205" y="16"/>
                  </a:cubicBezTo>
                  <a:cubicBezTo>
                    <a:pt x="309" y="16"/>
                    <a:pt x="394" y="101"/>
                    <a:pt x="394" y="205"/>
                  </a:cubicBezTo>
                  <a:cubicBezTo>
                    <a:pt x="394" y="209"/>
                    <a:pt x="397" y="213"/>
                    <a:pt x="402" y="213"/>
                  </a:cubicBezTo>
                  <a:cubicBezTo>
                    <a:pt x="406" y="213"/>
                    <a:pt x="410" y="209"/>
                    <a:pt x="410" y="205"/>
                  </a:cubicBezTo>
                  <a:cubicBezTo>
                    <a:pt x="410" y="205"/>
                    <a:pt x="410" y="205"/>
                    <a:pt x="410" y="205"/>
                  </a:cubicBezTo>
                  <a:cubicBezTo>
                    <a:pt x="410" y="92"/>
                    <a:pt x="318" y="0"/>
                    <a:pt x="205" y="0"/>
                  </a:cubicBezTo>
                  <a:cubicBezTo>
                    <a:pt x="92" y="0"/>
                    <a:pt x="0" y="92"/>
                    <a:pt x="0" y="205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1" y="549"/>
                    <a:pt x="1" y="549"/>
                    <a:pt x="1" y="549"/>
                  </a:cubicBezTo>
                  <a:cubicBezTo>
                    <a:pt x="1" y="571"/>
                    <a:pt x="18" y="589"/>
                    <a:pt x="41" y="589"/>
                  </a:cubicBezTo>
                  <a:cubicBezTo>
                    <a:pt x="370" y="589"/>
                    <a:pt x="370" y="589"/>
                    <a:pt x="370" y="589"/>
                  </a:cubicBezTo>
                  <a:cubicBezTo>
                    <a:pt x="392" y="589"/>
                    <a:pt x="410" y="571"/>
                    <a:pt x="410" y="549"/>
                  </a:cubicBezTo>
                  <a:cubicBezTo>
                    <a:pt x="410" y="237"/>
                    <a:pt x="410" y="237"/>
                    <a:pt x="410" y="237"/>
                  </a:cubicBezTo>
                  <a:cubicBezTo>
                    <a:pt x="410" y="233"/>
                    <a:pt x="406" y="229"/>
                    <a:pt x="402" y="229"/>
                  </a:cubicBezTo>
                  <a:moveTo>
                    <a:pt x="205" y="53"/>
                  </a:moveTo>
                  <a:cubicBezTo>
                    <a:pt x="202" y="53"/>
                    <a:pt x="199" y="55"/>
                    <a:pt x="198" y="58"/>
                  </a:cubicBezTo>
                  <a:cubicBezTo>
                    <a:pt x="76" y="291"/>
                    <a:pt x="76" y="291"/>
                    <a:pt x="76" y="291"/>
                  </a:cubicBezTo>
                  <a:cubicBezTo>
                    <a:pt x="75" y="294"/>
                    <a:pt x="75" y="297"/>
                    <a:pt x="77" y="299"/>
                  </a:cubicBezTo>
                  <a:cubicBezTo>
                    <a:pt x="78" y="301"/>
                    <a:pt x="81" y="303"/>
                    <a:pt x="83" y="303"/>
                  </a:cubicBezTo>
                  <a:cubicBezTo>
                    <a:pt x="327" y="303"/>
                    <a:pt x="327" y="303"/>
                    <a:pt x="327" y="303"/>
                  </a:cubicBezTo>
                  <a:cubicBezTo>
                    <a:pt x="330" y="303"/>
                    <a:pt x="332" y="301"/>
                    <a:pt x="334" y="299"/>
                  </a:cubicBezTo>
                  <a:cubicBezTo>
                    <a:pt x="335" y="297"/>
                    <a:pt x="335" y="294"/>
                    <a:pt x="334" y="291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1" y="55"/>
                    <a:pt x="208" y="53"/>
                    <a:pt x="205" y="53"/>
                  </a:cubicBezTo>
                  <a:moveTo>
                    <a:pt x="96" y="287"/>
                  </a:moveTo>
                  <a:cubicBezTo>
                    <a:pt x="205" y="79"/>
                    <a:pt x="205" y="79"/>
                    <a:pt x="205" y="79"/>
                  </a:cubicBezTo>
                  <a:cubicBezTo>
                    <a:pt x="314" y="287"/>
                    <a:pt x="314" y="287"/>
                    <a:pt x="314" y="287"/>
                  </a:cubicBezTo>
                  <a:lnTo>
                    <a:pt x="96" y="28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1080000" anchor="ctr"/>
            <a:lstStyle/>
            <a:p>
              <a:endParaRPr lang="en-US"/>
            </a:p>
          </p:txBody>
        </p:sp>
      </p:grpSp>
      <p:grpSp>
        <p:nvGrpSpPr>
          <p:cNvPr id="288" name="Group 274">
            <a:extLst>
              <a:ext uri="{FF2B5EF4-FFF2-40B4-BE49-F238E27FC236}">
                <a16:creationId xmlns:a16="http://schemas.microsoft.com/office/drawing/2014/main" id="{566AC94E-835D-4262-A7E3-4D4784060A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064681" y="1481478"/>
            <a:ext cx="661162" cy="886718"/>
            <a:chOff x="3147" y="3026"/>
            <a:chExt cx="254" cy="364"/>
          </a:xfrm>
        </p:grpSpPr>
        <p:grpSp>
          <p:nvGrpSpPr>
            <p:cNvPr id="289" name="Group 7">
              <a:extLst>
                <a:ext uri="{FF2B5EF4-FFF2-40B4-BE49-F238E27FC236}">
                  <a16:creationId xmlns:a16="http://schemas.microsoft.com/office/drawing/2014/main" id="{9EE526A4-9223-43A5-9E27-5717B6C12A0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47" y="3026"/>
              <a:ext cx="254" cy="364"/>
              <a:chOff x="2277" y="1703"/>
              <a:chExt cx="969" cy="1392"/>
            </a:xfrm>
          </p:grpSpPr>
          <p:pic>
            <p:nvPicPr>
              <p:cNvPr id="291" name="Bildobjekt 6">
                <a:extLst>
                  <a:ext uri="{FF2B5EF4-FFF2-40B4-BE49-F238E27FC236}">
                    <a16:creationId xmlns:a16="http://schemas.microsoft.com/office/drawing/2014/main" id="{F9C27EA0-EED5-4D6D-AD16-16E25AE610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87" y="1703"/>
                <a:ext cx="936" cy="13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2" name="Freeform 11">
                <a:extLst>
                  <a:ext uri="{FF2B5EF4-FFF2-40B4-BE49-F238E27FC236}">
                    <a16:creationId xmlns:a16="http://schemas.microsoft.com/office/drawing/2014/main" id="{2EA43150-34EF-4D64-A840-4A89D8E41A1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2277" y="1703"/>
                <a:ext cx="969" cy="1392"/>
              </a:xfrm>
              <a:custGeom>
                <a:avLst/>
                <a:gdLst>
                  <a:gd name="T0" fmla="*/ 2147483646 w 410"/>
                  <a:gd name="T1" fmla="*/ 2147483646 h 589"/>
                  <a:gd name="T2" fmla="*/ 2147483646 w 410"/>
                  <a:gd name="T3" fmla="*/ 2147483646 h 589"/>
                  <a:gd name="T4" fmla="*/ 2147483646 w 410"/>
                  <a:gd name="T5" fmla="*/ 2147483646 h 589"/>
                  <a:gd name="T6" fmla="*/ 2147483646 w 410"/>
                  <a:gd name="T7" fmla="*/ 2147483646 h 589"/>
                  <a:gd name="T8" fmla="*/ 2147483646 w 410"/>
                  <a:gd name="T9" fmla="*/ 2147483646 h 589"/>
                  <a:gd name="T10" fmla="*/ 2147483646 w 410"/>
                  <a:gd name="T11" fmla="*/ 2147483646 h 589"/>
                  <a:gd name="T12" fmla="*/ 0 w 410"/>
                  <a:gd name="T13" fmla="*/ 2147483646 h 589"/>
                  <a:gd name="T14" fmla="*/ 2147483646 w 410"/>
                  <a:gd name="T15" fmla="*/ 2147483646 h 589"/>
                  <a:gd name="T16" fmla="*/ 2147483646 w 410"/>
                  <a:gd name="T17" fmla="*/ 2147483646 h 589"/>
                  <a:gd name="T18" fmla="*/ 2147483646 w 410"/>
                  <a:gd name="T19" fmla="*/ 2147483646 h 589"/>
                  <a:gd name="T20" fmla="*/ 2147483646 w 410"/>
                  <a:gd name="T21" fmla="*/ 2147483646 h 589"/>
                  <a:gd name="T22" fmla="*/ 2147483646 w 410"/>
                  <a:gd name="T23" fmla="*/ 2147483646 h 589"/>
                  <a:gd name="T24" fmla="*/ 2147483646 w 410"/>
                  <a:gd name="T25" fmla="*/ 2147483646 h 589"/>
                  <a:gd name="T26" fmla="*/ 2147483646 w 410"/>
                  <a:gd name="T27" fmla="*/ 2147483646 h 589"/>
                  <a:gd name="T28" fmla="*/ 2147483646 w 410"/>
                  <a:gd name="T29" fmla="*/ 2147483646 h 589"/>
                  <a:gd name="T30" fmla="*/ 2147483646 w 410"/>
                  <a:gd name="T31" fmla="*/ 2147483646 h 589"/>
                  <a:gd name="T32" fmla="*/ 2147483646 w 410"/>
                  <a:gd name="T33" fmla="*/ 2147483646 h 589"/>
                  <a:gd name="T34" fmla="*/ 2147483646 w 410"/>
                  <a:gd name="T35" fmla="*/ 2147483646 h 589"/>
                  <a:gd name="T36" fmla="*/ 2147483646 w 410"/>
                  <a:gd name="T37" fmla="*/ 2147483646 h 589"/>
                  <a:gd name="T38" fmla="*/ 2147483646 w 410"/>
                  <a:gd name="T39" fmla="*/ 2147483646 h 589"/>
                  <a:gd name="T40" fmla="*/ 2147483646 w 410"/>
                  <a:gd name="T41" fmla="*/ 2147483646 h 589"/>
                  <a:gd name="T42" fmla="*/ 2147483646 w 410"/>
                  <a:gd name="T43" fmla="*/ 2147483646 h 589"/>
                  <a:gd name="T44" fmla="*/ 2147483646 w 410"/>
                  <a:gd name="T45" fmla="*/ 2147483646 h 589"/>
                  <a:gd name="T46" fmla="*/ 2147483646 w 410"/>
                  <a:gd name="T47" fmla="*/ 2147483646 h 589"/>
                  <a:gd name="T48" fmla="*/ 2147483646 w 410"/>
                  <a:gd name="T49" fmla="*/ 2147483646 h 589"/>
                  <a:gd name="T50" fmla="*/ 2147483646 w 410"/>
                  <a:gd name="T51" fmla="*/ 2147483646 h 589"/>
                  <a:gd name="T52" fmla="*/ 2147483646 w 410"/>
                  <a:gd name="T53" fmla="*/ 2147483646 h 589"/>
                  <a:gd name="T54" fmla="*/ 2147483646 w 410"/>
                  <a:gd name="T55" fmla="*/ 2147483646 h 589"/>
                  <a:gd name="T56" fmla="*/ 2147483646 w 410"/>
                  <a:gd name="T57" fmla="*/ 2147483646 h 589"/>
                  <a:gd name="T58" fmla="*/ 2147483646 w 410"/>
                  <a:gd name="T59" fmla="*/ 2147483646 h 589"/>
                  <a:gd name="T60" fmla="*/ 2147483646 w 410"/>
                  <a:gd name="T61" fmla="*/ 2147483646 h 589"/>
                  <a:gd name="T62" fmla="*/ 2147483646 w 410"/>
                  <a:gd name="T63" fmla="*/ 2147483646 h 589"/>
                  <a:gd name="T64" fmla="*/ 2147483646 w 410"/>
                  <a:gd name="T65" fmla="*/ 2147483646 h 589"/>
                  <a:gd name="T66" fmla="*/ 2147483646 w 410"/>
                  <a:gd name="T67" fmla="*/ 2147483646 h 589"/>
                  <a:gd name="T68" fmla="*/ 2147483646 w 410"/>
                  <a:gd name="T69" fmla="*/ 2147483646 h 589"/>
                  <a:gd name="T70" fmla="*/ 2147483646 w 410"/>
                  <a:gd name="T71" fmla="*/ 2147483646 h 589"/>
                  <a:gd name="T72" fmla="*/ 2147483646 w 410"/>
                  <a:gd name="T73" fmla="*/ 2147483646 h 58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10"/>
                  <a:gd name="T112" fmla="*/ 0 h 589"/>
                  <a:gd name="T113" fmla="*/ 410 w 410"/>
                  <a:gd name="T114" fmla="*/ 589 h 58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10" h="589">
                    <a:moveTo>
                      <a:pt x="402" y="229"/>
                    </a:moveTo>
                    <a:cubicBezTo>
                      <a:pt x="397" y="229"/>
                      <a:pt x="394" y="233"/>
                      <a:pt x="394" y="237"/>
                    </a:cubicBezTo>
                    <a:cubicBezTo>
                      <a:pt x="394" y="549"/>
                      <a:pt x="394" y="549"/>
                      <a:pt x="394" y="549"/>
                    </a:cubicBezTo>
                    <a:cubicBezTo>
                      <a:pt x="394" y="563"/>
                      <a:pt x="383" y="573"/>
                      <a:pt x="370" y="573"/>
                    </a:cubicBezTo>
                    <a:cubicBezTo>
                      <a:pt x="41" y="573"/>
                      <a:pt x="41" y="573"/>
                      <a:pt x="41" y="573"/>
                    </a:cubicBezTo>
                    <a:cubicBezTo>
                      <a:pt x="27" y="573"/>
                      <a:pt x="17" y="563"/>
                      <a:pt x="16" y="549"/>
                    </a:cubicBezTo>
                    <a:cubicBezTo>
                      <a:pt x="16" y="205"/>
                      <a:pt x="16" y="205"/>
                      <a:pt x="16" y="205"/>
                    </a:cubicBezTo>
                    <a:cubicBezTo>
                      <a:pt x="17" y="101"/>
                      <a:pt x="101" y="16"/>
                      <a:pt x="205" y="16"/>
                    </a:cubicBezTo>
                    <a:cubicBezTo>
                      <a:pt x="309" y="16"/>
                      <a:pt x="394" y="101"/>
                      <a:pt x="394" y="205"/>
                    </a:cubicBezTo>
                    <a:cubicBezTo>
                      <a:pt x="394" y="209"/>
                      <a:pt x="397" y="213"/>
                      <a:pt x="402" y="213"/>
                    </a:cubicBezTo>
                    <a:cubicBezTo>
                      <a:pt x="406" y="213"/>
                      <a:pt x="410" y="209"/>
                      <a:pt x="410" y="205"/>
                    </a:cubicBezTo>
                    <a:cubicBezTo>
                      <a:pt x="410" y="205"/>
                      <a:pt x="410" y="205"/>
                      <a:pt x="410" y="205"/>
                    </a:cubicBezTo>
                    <a:cubicBezTo>
                      <a:pt x="410" y="92"/>
                      <a:pt x="318" y="0"/>
                      <a:pt x="205" y="0"/>
                    </a:cubicBezTo>
                    <a:cubicBezTo>
                      <a:pt x="92" y="0"/>
                      <a:pt x="0" y="92"/>
                      <a:pt x="0" y="205"/>
                    </a:cubicBezTo>
                    <a:cubicBezTo>
                      <a:pt x="0" y="205"/>
                      <a:pt x="0" y="205"/>
                      <a:pt x="0" y="205"/>
                    </a:cubicBezTo>
                    <a:cubicBezTo>
                      <a:pt x="1" y="549"/>
                      <a:pt x="1" y="549"/>
                      <a:pt x="1" y="549"/>
                    </a:cubicBezTo>
                    <a:cubicBezTo>
                      <a:pt x="1" y="571"/>
                      <a:pt x="18" y="589"/>
                      <a:pt x="41" y="589"/>
                    </a:cubicBezTo>
                    <a:cubicBezTo>
                      <a:pt x="370" y="589"/>
                      <a:pt x="370" y="589"/>
                      <a:pt x="370" y="589"/>
                    </a:cubicBezTo>
                    <a:cubicBezTo>
                      <a:pt x="392" y="589"/>
                      <a:pt x="410" y="571"/>
                      <a:pt x="410" y="549"/>
                    </a:cubicBezTo>
                    <a:cubicBezTo>
                      <a:pt x="410" y="237"/>
                      <a:pt x="410" y="237"/>
                      <a:pt x="410" y="237"/>
                    </a:cubicBezTo>
                    <a:cubicBezTo>
                      <a:pt x="410" y="233"/>
                      <a:pt x="406" y="229"/>
                      <a:pt x="402" y="229"/>
                    </a:cubicBezTo>
                    <a:moveTo>
                      <a:pt x="148" y="173"/>
                    </a:moveTo>
                    <a:cubicBezTo>
                      <a:pt x="262" y="173"/>
                      <a:pt x="262" y="173"/>
                      <a:pt x="262" y="173"/>
                    </a:cubicBezTo>
                    <a:cubicBezTo>
                      <a:pt x="264" y="173"/>
                      <a:pt x="267" y="172"/>
                      <a:pt x="269" y="169"/>
                    </a:cubicBezTo>
                    <a:cubicBezTo>
                      <a:pt x="270" y="167"/>
                      <a:pt x="270" y="164"/>
                      <a:pt x="269" y="162"/>
                    </a:cubicBezTo>
                    <a:cubicBezTo>
                      <a:pt x="212" y="48"/>
                      <a:pt x="212" y="48"/>
                      <a:pt x="212" y="48"/>
                    </a:cubicBezTo>
                    <a:cubicBezTo>
                      <a:pt x="211" y="45"/>
                      <a:pt x="208" y="43"/>
                      <a:pt x="205" y="43"/>
                    </a:cubicBezTo>
                    <a:cubicBezTo>
                      <a:pt x="202" y="43"/>
                      <a:pt x="199" y="45"/>
                      <a:pt x="198" y="48"/>
                    </a:cubicBezTo>
                    <a:cubicBezTo>
                      <a:pt x="141" y="162"/>
                      <a:pt x="141" y="162"/>
                      <a:pt x="141" y="162"/>
                    </a:cubicBezTo>
                    <a:cubicBezTo>
                      <a:pt x="139" y="164"/>
                      <a:pt x="139" y="167"/>
                      <a:pt x="141" y="169"/>
                    </a:cubicBezTo>
                    <a:cubicBezTo>
                      <a:pt x="142" y="172"/>
                      <a:pt x="145" y="173"/>
                      <a:pt x="148" y="173"/>
                    </a:cubicBezTo>
                    <a:moveTo>
                      <a:pt x="205" y="69"/>
                    </a:moveTo>
                    <a:cubicBezTo>
                      <a:pt x="249" y="157"/>
                      <a:pt x="249" y="157"/>
                      <a:pt x="249" y="157"/>
                    </a:cubicBezTo>
                    <a:cubicBezTo>
                      <a:pt x="161" y="157"/>
                      <a:pt x="161" y="157"/>
                      <a:pt x="161" y="157"/>
                    </a:cubicBezTo>
                    <a:lnTo>
                      <a:pt x="205" y="69"/>
                    </a:lnTo>
                    <a:close/>
                    <a:moveTo>
                      <a:pt x="90" y="210"/>
                    </a:moveTo>
                    <a:cubicBezTo>
                      <a:pt x="87" y="212"/>
                      <a:pt x="84" y="213"/>
                      <a:pt x="81" y="216"/>
                    </a:cubicBezTo>
                    <a:cubicBezTo>
                      <a:pt x="79" y="218"/>
                      <a:pt x="76" y="221"/>
                      <a:pt x="76" y="226"/>
                    </a:cubicBezTo>
                    <a:cubicBezTo>
                      <a:pt x="76" y="274"/>
                      <a:pt x="76" y="274"/>
                      <a:pt x="76" y="274"/>
                    </a:cubicBezTo>
                    <a:cubicBezTo>
                      <a:pt x="76" y="279"/>
                      <a:pt x="79" y="282"/>
                      <a:pt x="81" y="284"/>
                    </a:cubicBezTo>
                    <a:cubicBezTo>
                      <a:pt x="86" y="288"/>
                      <a:pt x="92" y="290"/>
                      <a:pt x="99" y="293"/>
                    </a:cubicBezTo>
                    <a:cubicBezTo>
                      <a:pt x="122" y="299"/>
                      <a:pt x="161" y="303"/>
                      <a:pt x="205" y="303"/>
                    </a:cubicBezTo>
                    <a:cubicBezTo>
                      <a:pt x="239" y="303"/>
                      <a:pt x="270" y="300"/>
                      <a:pt x="292" y="297"/>
                    </a:cubicBezTo>
                    <a:cubicBezTo>
                      <a:pt x="304" y="295"/>
                      <a:pt x="313" y="292"/>
                      <a:pt x="320" y="290"/>
                    </a:cubicBezTo>
                    <a:cubicBezTo>
                      <a:pt x="324" y="288"/>
                      <a:pt x="327" y="287"/>
                      <a:pt x="329" y="284"/>
                    </a:cubicBezTo>
                    <a:cubicBezTo>
                      <a:pt x="332" y="282"/>
                      <a:pt x="334" y="279"/>
                      <a:pt x="334" y="274"/>
                    </a:cubicBezTo>
                    <a:cubicBezTo>
                      <a:pt x="334" y="226"/>
                      <a:pt x="334" y="226"/>
                      <a:pt x="334" y="226"/>
                    </a:cubicBezTo>
                    <a:cubicBezTo>
                      <a:pt x="334" y="221"/>
                      <a:pt x="332" y="218"/>
                      <a:pt x="329" y="216"/>
                    </a:cubicBezTo>
                    <a:cubicBezTo>
                      <a:pt x="325" y="212"/>
                      <a:pt x="319" y="210"/>
                      <a:pt x="311" y="207"/>
                    </a:cubicBezTo>
                    <a:cubicBezTo>
                      <a:pt x="288" y="201"/>
                      <a:pt x="250" y="197"/>
                      <a:pt x="205" y="197"/>
                    </a:cubicBezTo>
                    <a:cubicBezTo>
                      <a:pt x="171" y="197"/>
                      <a:pt x="141" y="199"/>
                      <a:pt x="118" y="203"/>
                    </a:cubicBezTo>
                    <a:cubicBezTo>
                      <a:pt x="107" y="205"/>
                      <a:pt x="97" y="208"/>
                      <a:pt x="90" y="210"/>
                    </a:cubicBezTo>
                    <a:moveTo>
                      <a:pt x="318" y="272"/>
                    </a:moveTo>
                    <a:cubicBezTo>
                      <a:pt x="317" y="274"/>
                      <a:pt x="313" y="275"/>
                      <a:pt x="307" y="277"/>
                    </a:cubicBezTo>
                    <a:cubicBezTo>
                      <a:pt x="287" y="283"/>
                      <a:pt x="249" y="287"/>
                      <a:pt x="205" y="287"/>
                    </a:cubicBezTo>
                    <a:cubicBezTo>
                      <a:pt x="172" y="287"/>
                      <a:pt x="142" y="285"/>
                      <a:pt x="121" y="281"/>
                    </a:cubicBezTo>
                    <a:cubicBezTo>
                      <a:pt x="110" y="279"/>
                      <a:pt x="102" y="277"/>
                      <a:pt x="96" y="275"/>
                    </a:cubicBezTo>
                    <a:cubicBezTo>
                      <a:pt x="94" y="274"/>
                      <a:pt x="93" y="273"/>
                      <a:pt x="92" y="272"/>
                    </a:cubicBezTo>
                    <a:cubicBezTo>
                      <a:pt x="92" y="242"/>
                      <a:pt x="92" y="242"/>
                      <a:pt x="92" y="242"/>
                    </a:cubicBezTo>
                    <a:cubicBezTo>
                      <a:pt x="94" y="243"/>
                      <a:pt x="97" y="244"/>
                      <a:pt x="99" y="244"/>
                    </a:cubicBezTo>
                    <a:cubicBezTo>
                      <a:pt x="122" y="251"/>
                      <a:pt x="161" y="255"/>
                      <a:pt x="205" y="255"/>
                    </a:cubicBezTo>
                    <a:cubicBezTo>
                      <a:pt x="239" y="255"/>
                      <a:pt x="270" y="252"/>
                      <a:pt x="292" y="248"/>
                    </a:cubicBezTo>
                    <a:cubicBezTo>
                      <a:pt x="303" y="247"/>
                      <a:pt x="312" y="244"/>
                      <a:pt x="319" y="242"/>
                    </a:cubicBezTo>
                    <a:lnTo>
                      <a:pt x="318" y="272"/>
                    </a:lnTo>
                    <a:close/>
                    <a:moveTo>
                      <a:pt x="290" y="219"/>
                    </a:moveTo>
                    <a:cubicBezTo>
                      <a:pt x="300" y="221"/>
                      <a:pt x="309" y="223"/>
                      <a:pt x="314" y="225"/>
                    </a:cubicBezTo>
                    <a:cubicBezTo>
                      <a:pt x="315" y="225"/>
                      <a:pt x="315" y="226"/>
                      <a:pt x="316" y="226"/>
                    </a:cubicBezTo>
                    <a:cubicBezTo>
                      <a:pt x="313" y="227"/>
                      <a:pt x="311" y="228"/>
                      <a:pt x="307" y="229"/>
                    </a:cubicBezTo>
                    <a:cubicBezTo>
                      <a:pt x="287" y="235"/>
                      <a:pt x="249" y="239"/>
                      <a:pt x="205" y="239"/>
                    </a:cubicBezTo>
                    <a:cubicBezTo>
                      <a:pt x="172" y="239"/>
                      <a:pt x="142" y="236"/>
                      <a:pt x="121" y="233"/>
                    </a:cubicBezTo>
                    <a:cubicBezTo>
                      <a:pt x="110" y="231"/>
                      <a:pt x="102" y="229"/>
                      <a:pt x="96" y="227"/>
                    </a:cubicBezTo>
                    <a:cubicBezTo>
                      <a:pt x="96" y="226"/>
                      <a:pt x="95" y="226"/>
                      <a:pt x="95" y="226"/>
                    </a:cubicBezTo>
                    <a:cubicBezTo>
                      <a:pt x="97" y="225"/>
                      <a:pt x="100" y="224"/>
                      <a:pt x="103" y="223"/>
                    </a:cubicBezTo>
                    <a:cubicBezTo>
                      <a:pt x="123" y="217"/>
                      <a:pt x="162" y="213"/>
                      <a:pt x="205" y="213"/>
                    </a:cubicBezTo>
                    <a:cubicBezTo>
                      <a:pt x="238" y="213"/>
                      <a:pt x="268" y="215"/>
                      <a:pt x="290" y="219"/>
                    </a:cubicBezTo>
                  </a:path>
                </a:pathLst>
              </a:custGeom>
              <a:solidFill>
                <a:srgbClr val="5052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tIns="1080000" anchor="ctr"/>
              <a:lstStyle/>
              <a:p>
                <a:endParaRPr lang="en-US"/>
              </a:p>
            </p:txBody>
          </p:sp>
        </p:grpSp>
        <p:sp>
          <p:nvSpPr>
            <p:cNvPr id="290" name="Text Box 278">
              <a:extLst>
                <a:ext uri="{FF2B5EF4-FFF2-40B4-BE49-F238E27FC236}">
                  <a16:creationId xmlns:a16="http://schemas.microsoft.com/office/drawing/2014/main" id="{C3C3EC12-9085-482F-A7DF-A0FC278E1590}"/>
                </a:ext>
              </a:extLst>
            </p:cNvPr>
            <p:cNvSpPr txBox="1">
              <a:spLocks noChangeAspect="1" noChangeArrowheads="1"/>
            </p:cNvSpPr>
            <p:nvPr/>
          </p:nvSpPr>
          <p:spPr bwMode="auto">
            <a:xfrm>
              <a:off x="3161" y="3231"/>
              <a:ext cx="226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>
              <a:lvl1pPr>
                <a:spcBef>
                  <a:spcPct val="20000"/>
                </a:spcBef>
                <a:buClr>
                  <a:srgbClr val="00A9D4"/>
                </a:buClr>
                <a:buFont typeface="Arial" panose="020B0604020202020204" pitchFamily="34" charset="0"/>
                <a:buChar char="›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lr>
                  <a:srgbClr val="92CCE5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-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1"/>
                </a:buClr>
                <a:buFont typeface="Ericsson Capital TT" panose="02000503000000020004" pitchFamily="2" charset="0"/>
                <a:buChar char="›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ctr" eaLnBrk="1" hangingPunct="1">
                <a:spcBef>
                  <a:spcPts val="600"/>
                </a:spcBef>
                <a:buClrTx/>
                <a:buFontTx/>
                <a:buNone/>
              </a:pPr>
              <a:r>
                <a:rPr lang="en-US" altLang="en-US" sz="1400" dirty="0"/>
                <a:t>UD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052200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TitlePag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DDpCh_JE2PElwUIFsD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N4mcNrp0aXAYzjcMMz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BYCFvLZ0OH.dMBSd_2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GPXr_.yUSNqHvghLUZQ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1YghVO9UmCHHj66xbf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ZGam7M70.6CKF.tKRg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FNGTLKeESQBbu96Xf_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J83skPUEurJcl0UZeo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P8j0zRp0SaJX8QqM737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UjIZ_7i0ORHFpoknYJ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SxrFRgxUuOxjufgAUX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L_hRn6i0m1Ej0Nnf1R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2ez0wei0ufGn1DkUOp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Cu5f_RnEKaAL1GCGah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HcF_UQvEqSf2ArNS4r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wnCV890CIe_pHwWuVz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HcF_UQvEqSf2ArNS4r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dwnCV890CIe_pHwWuVz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Gt5PUTIkOVgTJVczPc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BiTZUfsE6.kFwj4Did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e9HnP._kWO4PcQ0rde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2FDEGk5EK8gjHbX6W89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0kURWRJUyifZOEO.nv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5sYRu3x0KgXDW.4iA8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i6snm9m0egh.6xLCOm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CwUcJprUWEfzJmvBq5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a8j0r2FU.LJaNimnsTtw"/>
</p:tagLst>
</file>

<file path=ppt/theme/theme1.xml><?xml version="1.0" encoding="utf-8"?>
<a:theme xmlns:a="http://schemas.openxmlformats.org/drawingml/2006/main" name="PresentationTemplate2011">
  <a:themeElements>
    <a:clrScheme name="Landscape2009 1">
      <a:dk1>
        <a:srgbClr val="58585A"/>
      </a:dk1>
      <a:lt1>
        <a:srgbClr val="FFFFFF"/>
      </a:lt1>
      <a:dk2>
        <a:srgbClr val="00285E"/>
      </a:dk2>
      <a:lt2>
        <a:srgbClr val="B1B3B4"/>
      </a:lt2>
      <a:accent1>
        <a:srgbClr val="89BA17"/>
      </a:accent1>
      <a:accent2>
        <a:srgbClr val="F08A00"/>
      </a:accent2>
      <a:accent3>
        <a:srgbClr val="FFFFFF"/>
      </a:accent3>
      <a:accent4>
        <a:srgbClr val="4A4A4C"/>
      </a:accent4>
      <a:accent5>
        <a:srgbClr val="C4D9AB"/>
      </a:accent5>
      <a:accent6>
        <a:srgbClr val="D97D00"/>
      </a:accent6>
      <a:hlink>
        <a:srgbClr val="00A9D4"/>
      </a:hlink>
      <a:folHlink>
        <a:srgbClr val="00625F"/>
      </a:folHlink>
    </a:clrScheme>
    <a:fontScheme name="Landscape2009">
      <a:majorFont>
        <a:latin typeface="Ericsson Capital TT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72000" tIns="45720" rIns="7200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Template2011.potx" id="{2930A252-12C2-4F52-B133-87F8BF51D5BC}" vid="{C0EA779E-0600-4F57-BDCE-BA710E7DC25F}"/>
    </a:ext>
  </a:ext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8762117-8292-4133-b1c7-eab5c6487cfd">
      <Value>2</Value>
      <Value>1</Value>
    </TaxCatchAll>
    <TaxKeywordTaxHTField xmlns="d8762117-8292-4133-b1c7-eab5c6487cfd">
      <Terms xmlns="http://schemas.microsoft.com/office/infopath/2007/PartnerControls"/>
    </TaxKeywordTaxHTField>
    <EriCOLLProjectsTaxHTField0 xmlns="d8762117-8292-4133-b1c7-eab5c6487cfd">
      <Terms xmlns="http://schemas.microsoft.com/office/infopath/2007/PartnerControls"/>
    </EriCOLLProjectsTaxHTField0>
    <EriCOLLCategoryTaxHTField0 xmlns="d8762117-8292-4133-b1c7-eab5c6487cfd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velopment</TermName>
          <TermId xmlns="http://schemas.microsoft.com/office/infopath/2007/PartnerControls">053fcc88-ab49-4f69-87df-fc64cb0bf305</TermId>
        </TermInfo>
      </Terms>
    </EriCOLLCategoryTaxHTField0>
    <EriCOLLOrganizationUnitTaxHTField0 xmlns="d8762117-8292-4133-b1c7-eab5c6487cfd">
      <Terms xmlns="http://schemas.microsoft.com/office/infopath/2007/PartnerControls">
        <TermInfo xmlns="http://schemas.microsoft.com/office/infopath/2007/PartnerControls">
          <TermName xmlns="http://schemas.microsoft.com/office/infopath/2007/PartnerControls">BU IT ＆ Cloud Products</TermName>
          <TermId xmlns="http://schemas.microsoft.com/office/infopath/2007/PartnerControls">8da17dca-b3f7-4ad8-9f73-38f55033c011</TermId>
        </TermInfo>
      </Terms>
    </EriCOLLOrganizationUnitTaxHTField0>
    <EriCOLLCustomerTaxHTField0 xmlns="d8762117-8292-4133-b1c7-eab5c6487cfd">
      <Terms xmlns="http://schemas.microsoft.com/office/infopath/2007/PartnerControls"/>
    </EriCOLLCustomerTaxHTField0>
    <EriCOLLCountryTaxHTField0 xmlns="d8762117-8292-4133-b1c7-eab5c6487cfd">
      <Terms xmlns="http://schemas.microsoft.com/office/infopath/2007/PartnerControls"/>
    </EriCOLLCountryTaxHTField0>
    <Prepared. xmlns="563b8192-8fe4-44b5-96ae-e15988f3f665">Gergely Seres</Prepared.>
    <AbstractOrSummary. xmlns="563b8192-8fe4-44b5-96ae-e15988f3f665" xsi:nil="true"/>
    <EriCOLLDate. xmlns="563b8192-8fe4-44b5-96ae-e15988f3f665" xsi:nil="true"/>
    <EriCOLLProcessTaxHTField0 xmlns="d8762117-8292-4133-b1c7-eab5c6487cfd">
      <Terms xmlns="http://schemas.microsoft.com/office/infopath/2007/PartnerControls"/>
    </EriCOLLProcessTaxHTField0>
    <EriCOLLProductsTaxHTField0 xmlns="d8762117-8292-4133-b1c7-eab5c6487cfd">
      <Terms xmlns="http://schemas.microsoft.com/office/infopath/2007/PartnerControls"/>
    </EriCOLLProductsTaxHTField0>
    <EriCOLLCompetenceTaxHTField0 xmlns="d8762117-8292-4133-b1c7-eab5c6487cfd">
      <Terms xmlns="http://schemas.microsoft.com/office/infopath/2007/PartnerControls"/>
    </EriCOLLCompetenceTaxHTField0>
    <TaxCatchAllLabel xmlns="d8762117-8292-4133-b1c7-eab5c6487cfd"/>
    <IconOverlay xmlns="http://schemas.microsoft.com/sharepoint/v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riCOLL Docs" ma:contentTypeID="0x010100C5F30C9B16E14C8EACE5F2CC7B7AC7F40083D380D6136C13468A2CE7AA579E595D" ma:contentTypeVersion="38" ma:contentTypeDescription="EriCOLL Document Content Type" ma:contentTypeScope="" ma:versionID="398a4fb08d83c6f5f485bd9c0026e106">
  <xsd:schema xmlns:xsd="http://www.w3.org/2001/XMLSchema" xmlns:xs="http://www.w3.org/2001/XMLSchema" xmlns:p="http://schemas.microsoft.com/office/2006/metadata/properties" xmlns:ns2="563b8192-8fe4-44b5-96ae-e15988f3f665" xmlns:ns3="d8762117-8292-4133-b1c7-eab5c6487cfd" xmlns:ns4="http://schemas.microsoft.com/sharepoint/v4" xmlns:ns5="bf429a2c-fcde-417c-aa6c-50761e3b9ba8" targetNamespace="http://schemas.microsoft.com/office/2006/metadata/properties" ma:root="true" ma:fieldsID="96ac6c51994e5ae45417d8e6b845b58b" ns2:_="" ns3:_="" ns4:_="" ns5:_="">
    <xsd:import namespace="563b8192-8fe4-44b5-96ae-e15988f3f665"/>
    <xsd:import namespace="d8762117-8292-4133-b1c7-eab5c6487cfd"/>
    <xsd:import namespace="http://schemas.microsoft.com/sharepoint/v4"/>
    <xsd:import namespace="bf429a2c-fcde-417c-aa6c-50761e3b9ba8"/>
    <xsd:element name="properties">
      <xsd:complexType>
        <xsd:sequence>
          <xsd:element name="documentManagement">
            <xsd:complexType>
              <xsd:all>
                <xsd:element ref="ns2:Prepared." minOccurs="0"/>
                <xsd:element ref="ns2:EriCOLLDate." minOccurs="0"/>
                <xsd:element ref="ns2:AbstractOrSummary." minOccurs="0"/>
                <xsd:element ref="ns3:EriCOLLCategoryTaxHTField0" minOccurs="0"/>
                <xsd:element ref="ns3:EriCOLLCompetenceTaxHTField0" minOccurs="0"/>
                <xsd:element ref="ns3:TaxCatchAll" minOccurs="0"/>
                <xsd:element ref="ns3:EriCOLLOrganizationUnitTaxHTField0" minOccurs="0"/>
                <xsd:element ref="ns3:EriCOLLCountryTaxHTField0" minOccurs="0"/>
                <xsd:element ref="ns3:TaxCatchAllLabel" minOccurs="0"/>
                <xsd:element ref="ns3:EriCOLLCustomerTaxHTField0" minOccurs="0"/>
                <xsd:element ref="ns3:EriCOLLProcessTaxHTField0" minOccurs="0"/>
                <xsd:element ref="ns3:EriCOLLProductsTaxHTField0" minOccurs="0"/>
                <xsd:element ref="ns3:EriCOLLProjectsTaxHTField0" minOccurs="0"/>
                <xsd:element ref="ns3:TaxKeywordTaxHTField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4:IconOverlay" minOccurs="0"/>
                <xsd:element ref="ns5:SharedWithUsers" minOccurs="0"/>
                <xsd:element ref="ns5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63b8192-8fe4-44b5-96ae-e15988f3f665" elementFormDefault="qualified">
    <xsd:import namespace="http://schemas.microsoft.com/office/2006/documentManagement/types"/>
    <xsd:import namespace="http://schemas.microsoft.com/office/infopath/2007/PartnerControls"/>
    <xsd:element name="Prepared." ma:index="2" nillable="true" ma:displayName="Prepared." ma:internalName="Prepared_x002e_" ma:readOnly="false">
      <xsd:simpleType>
        <xsd:restriction base="dms:Text">
          <xsd:maxLength value="255"/>
        </xsd:restriction>
      </xsd:simpleType>
    </xsd:element>
    <xsd:element name="EriCOLLDate." ma:index="3" nillable="true" ma:displayName="Date." ma:internalName="EriCOLLDate_x002e_" ma:readOnly="false">
      <xsd:simpleType>
        <xsd:restriction base="dms:Text">
          <xsd:maxLength value="255"/>
        </xsd:restriction>
      </xsd:simpleType>
    </xsd:element>
    <xsd:element name="AbstractOrSummary." ma:index="4" nillable="true" ma:displayName="Abstract/Summary." ma:internalName="AbstractOrSummary_x002e_" ma:readOnly="false">
      <xsd:simpleType>
        <xsd:restriction base="dms:Note"/>
      </xsd:simpleType>
    </xsd:element>
    <xsd:element name="MediaServiceMetadata" ma:index="3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3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33" nillable="true" ma:displayName="MediaServiceAutoTags" ma:description="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762117-8292-4133-b1c7-eab5c6487cfd" elementFormDefault="qualified">
    <xsd:import namespace="http://schemas.microsoft.com/office/2006/documentManagement/types"/>
    <xsd:import namespace="http://schemas.microsoft.com/office/infopath/2007/PartnerControls"/>
    <xsd:element name="EriCOLLCategoryTaxHTField0" ma:index="15" nillable="true" ma:taxonomy="true" ma:internalName="EriCOLLCategoryTaxHTField0" ma:taxonomyFieldName="EriCOLLCategory" ma:displayName="Category." ma:readOnly="false" ma:fieldId="{e72cc46e-70aa-41d8-b11d-9bbfd769c5eb}" ma:taxonomyMulti="true" ma:sspId="c3d31b72-c4b9-4223-ac69-1d9539891dc8" ma:termSetId="7561d638-dd1f-4efc-b946-10f300a4ebc0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riCOLLCompetenceTaxHTField0" ma:index="17" nillable="true" ma:taxonomy="true" ma:internalName="EriCOLLCompetenceTaxHTField0" ma:taxonomyFieldName="EriCOLLCompetence" ma:displayName="Competence." ma:readOnly="false" ma:default="" ma:fieldId="{ff7cf505-5048-4f7f-991c-4d426a4ce272}" ma:taxonomyMulti="true" ma:sspId="c3d31b72-c4b9-4223-ac69-1d9539891dc8" ma:termSetId="65fca077-f90a-42bb-b113-1c3a98e41ad2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" ma:index="18" nillable="true" ma:displayName="Taxonomy Catch All Column" ma:description="" ma:hidden="true" ma:list="{ce06e5ad-5415-4fd2-9fae-2634992676d2}" ma:internalName="TaxCatchAll" ma:readOnly="false" ma:showField="CatchAllData" ma:web="bf429a2c-fcde-417c-aa6c-50761e3b9b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riCOLLOrganizationUnitTaxHTField0" ma:index="19" nillable="true" ma:taxonomy="true" ma:internalName="EriCOLLOrganizationUnitTaxHTField0" ma:taxonomyFieldName="EriCOLLOrganizationUnit" ma:displayName="Organization Unit." ma:readOnly="false" ma:default="" ma:fieldId="{7588c015-b936-47f7-bb64-663949dc467e}" ma:taxonomyMulti="true" ma:sspId="c3d31b72-c4b9-4223-ac69-1d9539891dc8" ma:termSetId="6110ab22-b916-4130-a998-2baf810842b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riCOLLCountryTaxHTField0" ma:index="21" nillable="true" ma:taxonomy="true" ma:internalName="EriCOLLCountryTaxHTField0" ma:taxonomyFieldName="EriCOLLCountry" ma:displayName="Country." ma:readOnly="false" ma:default="" ma:fieldId="{a6c34b01-f2c2-4f05-b9ad-d4935bafeeb2}" ma:taxonomyMulti="true" ma:sspId="c3d31b72-c4b9-4223-ac69-1d9539891dc8" ma:termSetId="2f44dedb-31b3-4b3a-a3d0-46b7cf38e0d8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CatchAllLabel" ma:index="22" nillable="true" ma:displayName="Taxonomy Catch All Column1" ma:description="" ma:hidden="true" ma:list="{ce06e5ad-5415-4fd2-9fae-2634992676d2}" ma:internalName="TaxCatchAllLabel" ma:readOnly="false" ma:showField="CatchAllDataLabel" ma:web="bf429a2c-fcde-417c-aa6c-50761e3b9b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EriCOLLCustomerTaxHTField0" ma:index="23" nillable="true" ma:taxonomy="true" ma:internalName="EriCOLLCustomerTaxHTField0" ma:taxonomyFieldName="EriCOLLCustomer" ma:displayName="Customer." ma:readOnly="false" ma:fieldId="{8480f48b-f8b7-4c77-be55-63d41a1fdb0d}" ma:taxonomyMulti="true" ma:sspId="c3d31b72-c4b9-4223-ac69-1d9539891dc8" ma:termSetId="01b599ec-ba0b-47c9-b100-c1d1cc35ce71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riCOLLProcessTaxHTField0" ma:index="25" nillable="true" ma:taxonomy="true" ma:internalName="EriCOLLProcessTaxHTField0" ma:taxonomyFieldName="EriCOLLProcess" ma:displayName="Process." ma:readOnly="false" ma:fieldId="{69b1f811-b392-4734-aa69-0125c68961bd}" ma:taxonomyMulti="true" ma:sspId="c3d31b72-c4b9-4223-ac69-1d9539891dc8" ma:termSetId="0511a28e-4375-4097-9e1a-1429cb21195a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riCOLLProductsTaxHTField0" ma:index="27" nillable="true" ma:taxonomy="true" ma:internalName="EriCOLLProductsTaxHTField0" ma:taxonomyFieldName="EriCOLLProducts" ma:displayName="Products." ma:readOnly="false" ma:default="" ma:fieldId="{e7fe205b-2114-43c4-bcb7-1bbbbd16d461}" ma:taxonomyMulti="true" ma:sspId="c3d31b72-c4b9-4223-ac69-1d9539891dc8" ma:termSetId="8910459b-9dda-441d-9133-95ead0768a8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EriCOLLProjectsTaxHTField0" ma:index="29" nillable="true" ma:taxonomy="true" ma:internalName="EriCOLLProjectsTaxHTField0" ma:taxonomyFieldName="EriCOLLProjects" ma:displayName="Projects." ma:readOnly="false" ma:default="" ma:fieldId="{6d690e96-80d8-4550-9bd4-922d740a55ff}" ma:taxonomyMulti="true" ma:sspId="c3d31b72-c4b9-4223-ac69-1d9539891dc8" ma:termSetId="6b24ae4c-1d36-46c1-a48f-85875fb6f741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TaxKeywordTaxHTField" ma:index="30" nillable="true" ma:taxonomy="true" ma:internalName="TaxKeywordTaxHTField" ma:taxonomyFieldName="TaxKeyword" ma:displayName="Enterprise Keywords" ma:readOnly="false" ma:fieldId="{23f27201-bee3-471e-b2e7-b64fd8b7ca38}" ma:taxonomyMulti="true" ma:sspId="c3d31b72-c4b9-4223-ac69-1d9539891dc8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4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429a2c-fcde-417c-aa6c-50761e3b9ba8" elementFormDefault="qualified">
    <xsd:import namespace="http://schemas.microsoft.com/office/2006/documentManagement/types"/>
    <xsd:import namespace="http://schemas.microsoft.com/office/infopath/2007/PartnerControls"/>
    <xsd:element name="SharedWithUsers" ma:index="3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D1F260-E6B3-4BBD-97C3-818D0C1578A6}">
  <ds:schemaRefs>
    <ds:schemaRef ds:uri="http://purl.org/dc/elements/1.1/"/>
    <ds:schemaRef ds:uri="http://schemas.microsoft.com/office/2006/metadata/properties"/>
    <ds:schemaRef ds:uri="563b8192-8fe4-44b5-96ae-e15988f3f665"/>
    <ds:schemaRef ds:uri="d8762117-8292-4133-b1c7-eab5c6487cfd"/>
    <ds:schemaRef ds:uri="http://schemas.microsoft.com/sharepoint/v4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bf429a2c-fcde-417c-aa6c-50761e3b9ba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63DB-BED8-4F4F-BC83-FAE7FC44824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63b8192-8fe4-44b5-96ae-e15988f3f665"/>
    <ds:schemaRef ds:uri="d8762117-8292-4133-b1c7-eab5c6487cfd"/>
    <ds:schemaRef ds:uri="http://schemas.microsoft.com/sharepoint/v4"/>
    <ds:schemaRef ds:uri="bf429a2c-fcde-417c-aa6c-50761e3b9b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6414AF1-7983-499D-92A2-D29D42B4723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Template2011</Template>
  <TotalTime>7763</TotalTime>
  <Words>696</Words>
  <Application>Microsoft Office PowerPoint</Application>
  <PresentationFormat>Widescreen</PresentationFormat>
  <Paragraphs>259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Arial</vt:lpstr>
      <vt:lpstr>Ericsson Capital TT</vt:lpstr>
      <vt:lpstr>MS PGothic</vt:lpstr>
      <vt:lpstr>MS PGothic</vt:lpstr>
      <vt:lpstr>Segoe UI</vt:lpstr>
      <vt:lpstr>Wingdings</vt:lpstr>
      <vt:lpstr>PresentationTemplate2011</vt:lpstr>
      <vt:lpstr>think-cell Slide</vt:lpstr>
      <vt:lpstr>Massive IoT infrastruktúra </vt:lpstr>
      <vt:lpstr>IoT használati példák</vt:lpstr>
      <vt:lpstr>Massive IoT ArchitektúrA - áttekintés</vt:lpstr>
      <vt:lpstr>Részletes 4G infrastruktúra</vt:lpstr>
      <vt:lpstr>PowerPoint Presentation</vt:lpstr>
      <vt:lpstr>4G IoT – 3GPP TS 24.301 Rel-13 szabvány Logikai Adatcsatornák</vt:lpstr>
      <vt:lpstr>rádiós és IoT alkalmazás szintű protokollok</vt:lpstr>
      <vt:lpstr>PowerPoint Presentation</vt:lpstr>
      <vt:lpstr>5G architektúra – Funkcionális Nézet </vt:lpstr>
      <vt:lpstr>Massive Iot hálózati Funkciók</vt:lpstr>
      <vt:lpstr>Tipikus problémák / kihíváso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sive IoT Infrastructure</dc:title>
  <dc:subject>Massive IoT Infrastructure - BD2</dc:subject>
  <dc:creator>Katona Sándor</dc:creator>
  <cp:keywords/>
  <dc:description>Rev</dc:description>
  <cp:lastModifiedBy>Sándor Katona</cp:lastModifiedBy>
  <cp:revision>561</cp:revision>
  <dcterms:created xsi:type="dcterms:W3CDTF">2017-01-09T17:19:14Z</dcterms:created>
  <dcterms:modified xsi:type="dcterms:W3CDTF">2018-11-20T19:4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Type">
    <vt:lpwstr>Presentation2011</vt:lpwstr>
  </property>
  <property fmtid="{D5CDD505-2E9C-101B-9397-08002B2CF9AE}" pid="3" name="TemplateName">
    <vt:lpwstr>CXC 173 2731/1</vt:lpwstr>
  </property>
  <property fmtid="{D5CDD505-2E9C-101B-9397-08002B2CF9AE}" pid="4" name="TemplateVersion">
    <vt:lpwstr>R1A</vt:lpwstr>
  </property>
  <property fmtid="{D5CDD505-2E9C-101B-9397-08002B2CF9AE}" pid="5" name="EmbeddedFonts">
    <vt:bool>true</vt:bool>
  </property>
  <property fmtid="{D5CDD505-2E9C-101B-9397-08002B2CF9AE}" pid="6" name="PackageNo">
    <vt:lpwstr>LXA 119 603</vt:lpwstr>
  </property>
  <property fmtid="{D5CDD505-2E9C-101B-9397-08002B2CF9AE}" pid="7" name="PackageVersion">
    <vt:lpwstr>R6A</vt:lpwstr>
  </property>
  <property fmtid="{D5CDD505-2E9C-101B-9397-08002B2CF9AE}" pid="8" name="FooterType">
    <vt:lpwstr>PresTemp</vt:lpwstr>
  </property>
  <property fmtid="{D5CDD505-2E9C-101B-9397-08002B2CF9AE}" pid="9" name="UsedFont">
    <vt:lpwstr>Ericsson Capital TT</vt:lpwstr>
  </property>
  <property fmtid="{D5CDD505-2E9C-101B-9397-08002B2CF9AE}" pid="10" name="x">
    <vt:lpwstr>1</vt:lpwstr>
  </property>
  <property fmtid="{D5CDD505-2E9C-101B-9397-08002B2CF9AE}" pid="11" name="White">
    <vt:bool>true</vt:bool>
  </property>
  <property fmtid="{D5CDD505-2E9C-101B-9397-08002B2CF9AE}" pid="12" name="chkMetaData">
    <vt:bool>false</vt:bool>
  </property>
  <property fmtid="{D5CDD505-2E9C-101B-9397-08002B2CF9AE}" pid="13" name="chkTaglines">
    <vt:bool>false</vt:bool>
  </property>
  <property fmtid="{D5CDD505-2E9C-101B-9397-08002B2CF9AE}" pid="14" name="txtConfLabel">
    <vt:lpwstr>Ericsson Internal</vt:lpwstr>
  </property>
  <property fmtid="{D5CDD505-2E9C-101B-9397-08002B2CF9AE}" pid="15" name="optUseConfClass">
    <vt:bool>true</vt:bool>
  </property>
  <property fmtid="{D5CDD505-2E9C-101B-9397-08002B2CF9AE}" pid="16" name="optUseConfLabel">
    <vt:bool>false</vt:bool>
  </property>
  <property fmtid="{D5CDD505-2E9C-101B-9397-08002B2CF9AE}" pid="17" name="optFooterCVLDocNo">
    <vt:bool>false</vt:bool>
  </property>
  <property fmtid="{D5CDD505-2E9C-101B-9397-08002B2CF9AE}" pid="18" name="optFooterCVLCopyright">
    <vt:bool>false</vt:bool>
  </property>
  <property fmtid="{D5CDD505-2E9C-101B-9397-08002B2CF9AE}" pid="19" name="optEnterText1">
    <vt:bool>true</vt:bool>
  </property>
  <property fmtid="{D5CDD505-2E9C-101B-9397-08002B2CF9AE}" pid="20" name="optFooterCVLConfLabel">
    <vt:bool>true</vt:bool>
  </property>
  <property fmtid="{D5CDD505-2E9C-101B-9397-08002B2CF9AE}" pid="21" name="optEnterText2">
    <vt:bool>false</vt:bool>
  </property>
  <property fmtid="{D5CDD505-2E9C-101B-9397-08002B2CF9AE}" pid="22" name="optFooterCVLTitle">
    <vt:bool>true</vt:bool>
  </property>
  <property fmtid="{D5CDD505-2E9C-101B-9397-08002B2CF9AE}" pid="23" name="optFooterCVLPrep">
    <vt:bool>false</vt:bool>
  </property>
  <property fmtid="{D5CDD505-2E9C-101B-9397-08002B2CF9AE}" pid="24" name="optEnterText3">
    <vt:bool>false</vt:bool>
  </property>
  <property fmtid="{D5CDD505-2E9C-101B-9397-08002B2CF9AE}" pid="25" name="optFooterCVLDate">
    <vt:bool>true</vt:bool>
  </property>
  <property fmtid="{D5CDD505-2E9C-101B-9397-08002B2CF9AE}" pid="26" name="optEnterText4">
    <vt:bool>false</vt:bool>
  </property>
  <property fmtid="{D5CDD505-2E9C-101B-9397-08002B2CF9AE}" pid="27" name="LeftFooterField">
    <vt:lpwstr/>
  </property>
  <property fmtid="{D5CDD505-2E9C-101B-9397-08002B2CF9AE}" pid="28" name="MiddleFooterField">
    <vt:lpwstr>Ericsson Internal</vt:lpwstr>
  </property>
  <property fmtid="{D5CDD505-2E9C-101B-9397-08002B2CF9AE}" pid="29" name="RightFooterField">
    <vt:lpwstr>Massive IoT Infrastructure</vt:lpwstr>
  </property>
  <property fmtid="{D5CDD505-2E9C-101B-9397-08002B2CF9AE}" pid="30" name="RightFooterField2">
    <vt:lpwstr>2018-11-12</vt:lpwstr>
  </property>
  <property fmtid="{D5CDD505-2E9C-101B-9397-08002B2CF9AE}" pid="31" name="TotalNumb">
    <vt:bool>true</vt:bool>
  </property>
  <property fmtid="{D5CDD505-2E9C-101B-9397-08002B2CF9AE}" pid="32" name="Pages">
    <vt:bool>true</vt:bool>
  </property>
  <property fmtid="{D5CDD505-2E9C-101B-9397-08002B2CF9AE}" pid="33" name="DocumentType2">
    <vt:lpwstr>Presentation2011</vt:lpwstr>
  </property>
  <property fmtid="{D5CDD505-2E9C-101B-9397-08002B2CF9AE}" pid="34" name="TemplateName2">
    <vt:lpwstr>CXC 173 2731/1</vt:lpwstr>
  </property>
  <property fmtid="{D5CDD505-2E9C-101B-9397-08002B2CF9AE}" pid="35" name="TemplateVersion2">
    <vt:lpwstr>R1A</vt:lpwstr>
  </property>
  <property fmtid="{D5CDD505-2E9C-101B-9397-08002B2CF9AE}" pid="36" name="ApprovedBy">
    <vt:lpwstr/>
  </property>
  <property fmtid="{D5CDD505-2E9C-101B-9397-08002B2CF9AE}" pid="37" name="DocNo">
    <vt:lpwstr/>
  </property>
  <property fmtid="{D5CDD505-2E9C-101B-9397-08002B2CF9AE}" pid="38" name="Checked">
    <vt:lpwstr/>
  </property>
  <property fmtid="{D5CDD505-2E9C-101B-9397-08002B2CF9AE}" pid="39" name="DocName">
    <vt:lpwstr/>
  </property>
  <property fmtid="{D5CDD505-2E9C-101B-9397-08002B2CF9AE}" pid="40" name="Reference">
    <vt:lpwstr/>
  </property>
  <property fmtid="{D5CDD505-2E9C-101B-9397-08002B2CF9AE}" pid="41" name="Keyword">
    <vt:lpwstr/>
  </property>
  <property fmtid="{D5CDD505-2E9C-101B-9397-08002B2CF9AE}" pid="42" name="Prepared">
    <vt:lpwstr>Katona Sándor</vt:lpwstr>
  </property>
  <property fmtid="{D5CDD505-2E9C-101B-9397-08002B2CF9AE}" pid="43" name="SecurityClass">
    <vt:lpwstr>Ericsson Internal</vt:lpwstr>
  </property>
  <property fmtid="{D5CDD505-2E9C-101B-9397-08002B2CF9AE}" pid="44" name="UpdateProcess">
    <vt:lpwstr>End</vt:lpwstr>
  </property>
  <property fmtid="{D5CDD505-2E9C-101B-9397-08002B2CF9AE}" pid="45" name="Title">
    <vt:lpwstr>Massive IoT Infrastructure</vt:lpwstr>
  </property>
  <property fmtid="{D5CDD505-2E9C-101B-9397-08002B2CF9AE}" pid="46" name="Revision">
    <vt:lpwstr/>
  </property>
  <property fmtid="{D5CDD505-2E9C-101B-9397-08002B2CF9AE}" pid="47" name="Date">
    <vt:lpwstr>2018-11-12</vt:lpwstr>
  </property>
  <property fmtid="{D5CDD505-2E9C-101B-9397-08002B2CF9AE}" pid="48" name="ContentTypeId">
    <vt:lpwstr>0x010100C5F30C9B16E14C8EACE5F2CC7B7AC7F40083D380D6136C13468A2CE7AA579E595D</vt:lpwstr>
  </property>
  <property fmtid="{D5CDD505-2E9C-101B-9397-08002B2CF9AE}" pid="49" name="_dlc_DocIdItemGuid">
    <vt:lpwstr>c791da3a-62c4-4140-8e47-d62ba3bbf110</vt:lpwstr>
  </property>
  <property fmtid="{D5CDD505-2E9C-101B-9397-08002B2CF9AE}" pid="50" name="EriCOLLCategory">
    <vt:lpwstr>1;#Development|053fcc88-ab49-4f69-87df-fc64cb0bf305</vt:lpwstr>
  </property>
  <property fmtid="{D5CDD505-2E9C-101B-9397-08002B2CF9AE}" pid="51" name="TaxKeyword">
    <vt:lpwstr/>
  </property>
  <property fmtid="{D5CDD505-2E9C-101B-9397-08002B2CF9AE}" pid="52" name="EriCOLLCountry">
    <vt:lpwstr/>
  </property>
  <property fmtid="{D5CDD505-2E9C-101B-9397-08002B2CF9AE}" pid="53" name="EriCOLLCompetence">
    <vt:lpwstr/>
  </property>
  <property fmtid="{D5CDD505-2E9C-101B-9397-08002B2CF9AE}" pid="54" name="EriCOLLOrganizationUnit">
    <vt:lpwstr>2;#BU IT ＆ Cloud Products|8da17dca-b3f7-4ad8-9f73-38f55033c011</vt:lpwstr>
  </property>
  <property fmtid="{D5CDD505-2E9C-101B-9397-08002B2CF9AE}" pid="55" name="EriCOLLCustomer">
    <vt:lpwstr/>
  </property>
  <property fmtid="{D5CDD505-2E9C-101B-9397-08002B2CF9AE}" pid="56" name="EriCOLLProducts">
    <vt:lpwstr/>
  </property>
  <property fmtid="{D5CDD505-2E9C-101B-9397-08002B2CF9AE}" pid="57" name="EriCOLLProjects">
    <vt:lpwstr/>
  </property>
  <property fmtid="{D5CDD505-2E9C-101B-9397-08002B2CF9AE}" pid="58" name="EriCOLLProcess">
    <vt:lpwstr/>
  </property>
  <property fmtid="{D5CDD505-2E9C-101B-9397-08002B2CF9AE}" pid="59" name="EriCOLLProjectsTaxHTField0">
    <vt:lpwstr/>
  </property>
  <property fmtid="{D5CDD505-2E9C-101B-9397-08002B2CF9AE}" pid="60" name="EriCOLLCategoryTaxHTField0">
    <vt:lpwstr>Development|053fcc88-ab49-4f69-87df-fc64cb0bf305</vt:lpwstr>
  </property>
  <property fmtid="{D5CDD505-2E9C-101B-9397-08002B2CF9AE}" pid="61" name="EriCOLLCompetenceTaxHTField0">
    <vt:lpwstr/>
  </property>
  <property fmtid="{D5CDD505-2E9C-101B-9397-08002B2CF9AE}" pid="62" name="EriCOLLOrganizationUnitTaxHTField0">
    <vt:lpwstr>BU IT ＆ Cloud Products|8da17dca-b3f7-4ad8-9f73-38f55033c011</vt:lpwstr>
  </property>
  <property fmtid="{D5CDD505-2E9C-101B-9397-08002B2CF9AE}" pid="63" name="EriCOLLCustomerTaxHTField0">
    <vt:lpwstr/>
  </property>
  <property fmtid="{D5CDD505-2E9C-101B-9397-08002B2CF9AE}" pid="64" name="EriCOLLCountryTaxHTField0">
    <vt:lpwstr/>
  </property>
  <property fmtid="{D5CDD505-2E9C-101B-9397-08002B2CF9AE}" pid="65" name="EriCOLLProcessTaxHTField0">
    <vt:lpwstr/>
  </property>
  <property fmtid="{D5CDD505-2E9C-101B-9397-08002B2CF9AE}" pid="66" name="EriCOLLProductsTaxHTField0">
    <vt:lpwstr/>
  </property>
  <property fmtid="{D5CDD505-2E9C-101B-9397-08002B2CF9AE}" pid="67" name="Comments">
    <vt:lpwstr/>
  </property>
  <property fmtid="{D5CDD505-2E9C-101B-9397-08002B2CF9AE}" pid="68" name="URL">
    <vt:lpwstr/>
  </property>
  <property fmtid="{D5CDD505-2E9C-101B-9397-08002B2CF9AE}" pid="69" name="chkShowAll">
    <vt:bool>false</vt:bool>
  </property>
  <property fmtid="{D5CDD505-2E9C-101B-9397-08002B2CF9AE}" pid="70" name="chkOnlyTitle">
    <vt:bool>false</vt:bool>
  </property>
  <property fmtid="{D5CDD505-2E9C-101B-9397-08002B2CF9AE}" pid="71" name="chkPrep">
    <vt:bool>false</vt:bool>
  </property>
  <property fmtid="{D5CDD505-2E9C-101B-9397-08002B2CF9AE}" pid="72" name="chkAppr">
    <vt:bool>false</vt:bool>
  </property>
  <property fmtid="{D5CDD505-2E9C-101B-9397-08002B2CF9AE}" pid="73" name="chkDocNo">
    <vt:bool>false</vt:bool>
  </property>
  <property fmtid="{D5CDD505-2E9C-101B-9397-08002B2CF9AE}" pid="74" name="chkRev">
    <vt:bool>false</vt:bool>
  </property>
  <property fmtid="{D5CDD505-2E9C-101B-9397-08002B2CF9AE}" pid="75" name="chkTitle">
    <vt:bool>true</vt:bool>
  </property>
  <property fmtid="{D5CDD505-2E9C-101B-9397-08002B2CF9AE}" pid="76" name="BCategory">
    <vt:lpwstr/>
  </property>
  <property fmtid="{D5CDD505-2E9C-101B-9397-08002B2CF9AE}" pid="77" name="BSubject">
    <vt:lpwstr/>
  </property>
  <property fmtid="{D5CDD505-2E9C-101B-9397-08002B2CF9AE}" pid="78" name="DocType">
    <vt:lpwstr/>
  </property>
</Properties>
</file>